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348" r:id="rId5"/>
    <p:sldId id="349" r:id="rId6"/>
    <p:sldId id="350" r:id="rId7"/>
    <p:sldId id="351" r:id="rId8"/>
    <p:sldId id="329" r:id="rId9"/>
    <p:sldId id="330" r:id="rId10"/>
    <p:sldId id="331" r:id="rId11"/>
    <p:sldId id="338" r:id="rId12"/>
    <p:sldId id="340" r:id="rId13"/>
    <p:sldId id="346" r:id="rId14"/>
    <p:sldId id="347" r:id="rId15"/>
    <p:sldId id="325" r:id="rId16"/>
    <p:sldId id="324" r:id="rId17"/>
    <p:sldId id="334" r:id="rId18"/>
    <p:sldId id="333" r:id="rId19"/>
    <p:sldId id="335" r:id="rId20"/>
    <p:sldId id="336" r:id="rId21"/>
    <p:sldId id="317" r:id="rId22"/>
    <p:sldId id="271" r:id="rId23"/>
    <p:sldId id="323" r:id="rId24"/>
    <p:sldId id="343" r:id="rId25"/>
    <p:sldId id="352" r:id="rId26"/>
    <p:sldId id="353" r:id="rId27"/>
  </p:sldIdLst>
  <p:sldSz cx="12192000" cy="6858000"/>
  <p:notesSz cx="7099300" cy="10234613"/>
  <p:custDataLst>
    <p:tags r:id="rId30"/>
  </p:custDataLst>
  <p:defaultTextStyle>
    <a:defPPr rtl="0">
      <a:defRPr lang="ja-jp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katsuka Kohei" initials="TK" lastIdx="1" clrIdx="0">
    <p:extLst>
      <p:ext uri="{19B8F6BF-5375-455C-9EA6-DF929625EA0E}">
        <p15:presenceInfo xmlns:p15="http://schemas.microsoft.com/office/powerpoint/2012/main" userId="9848d4b3e5c043b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F7C80"/>
    <a:srgbClr val="FFFFCC"/>
    <a:srgbClr val="FF5050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FBC985-9C39-4ADF-B587-37887DED4109}" v="3" dt="2020-12-11T13:44:01.179"/>
  </p1510:revLst>
</p1510:revInfo>
</file>

<file path=ppt/tableStyles.xml><?xml version="1.0" encoding="utf-8"?>
<a:tblStyleLst xmlns:a="http://schemas.openxmlformats.org/drawingml/2006/main" def="{BC89EF96-8CEA-46FF-86C4-4CE0E760980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hashimoto@hks.harvard.edu" userId="S::urn:spo:guest#rhashimoto@hks.harvard.edu::" providerId="AD" clId="Web-{B2D10E0D-B388-2914-9FBF-7FAEF8FDF795}"/>
    <pc:docChg chg="modSld">
      <pc:chgData name="rhashimoto@hks.harvard.edu" userId="S::urn:spo:guest#rhashimoto@hks.harvard.edu::" providerId="AD" clId="Web-{B2D10E0D-B388-2914-9FBF-7FAEF8FDF795}" dt="2020-12-06T19:54:29.566" v="242" actId="20577"/>
      <pc:docMkLst>
        <pc:docMk/>
      </pc:docMkLst>
      <pc:sldChg chg="addSp delSp modSp">
        <pc:chgData name="rhashimoto@hks.harvard.edu" userId="S::urn:spo:guest#rhashimoto@hks.harvard.edu::" providerId="AD" clId="Web-{B2D10E0D-B388-2914-9FBF-7FAEF8FDF795}" dt="2020-12-06T19:54:29.566" v="242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B2D10E0D-B388-2914-9FBF-7FAEF8FDF795}" dt="2020-12-06T19:32:01.136" v="168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B2D10E0D-B388-2914-9FBF-7FAEF8FDF795}" dt="2020-12-06T19:32:05.917" v="169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B2D10E0D-B388-2914-9FBF-7FAEF8FDF795}" dt="2020-12-06T19:33:55.280" v="179" actId="20577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B2D10E0D-B388-2914-9FBF-7FAEF8FDF795}" dt="2020-12-06T19:10:02.941" v="153" actId="20577"/>
          <ac:spMkLst>
            <pc:docMk/>
            <pc:sldMk cId="3952555209" sldId="324"/>
            <ac:spMk id="94" creationId="{BC050F31-83BE-4497-BCC2-141ACC39C51C}"/>
          </ac:spMkLst>
        </pc:spChg>
        <pc:spChg chg="mod">
          <ac:chgData name="rhashimoto@hks.harvard.edu" userId="S::urn:spo:guest#rhashimoto@hks.harvard.edu::" providerId="AD" clId="Web-{B2D10E0D-B388-2914-9FBF-7FAEF8FDF795}" dt="2020-12-06T19:34:11.905" v="182" actId="20577"/>
          <ac:spMkLst>
            <pc:docMk/>
            <pc:sldMk cId="3952555209" sldId="324"/>
            <ac:spMk id="99" creationId="{D4C5153D-5841-4716-9C21-D5EAC7D0B3FF}"/>
          </ac:spMkLst>
        </pc:spChg>
        <pc:spChg chg="mod">
          <ac:chgData name="rhashimoto@hks.harvard.edu" userId="S::urn:spo:guest#rhashimoto@hks.harvard.edu::" providerId="AD" clId="Web-{B2D10E0D-B388-2914-9FBF-7FAEF8FDF795}" dt="2020-12-06T19:34:28.328" v="186" actId="20577"/>
          <ac:spMkLst>
            <pc:docMk/>
            <pc:sldMk cId="3952555209" sldId="324"/>
            <ac:spMk id="100" creationId="{9B0E0A31-F4AB-473D-8FF3-78FB42E0EB65}"/>
          </ac:spMkLst>
        </pc:spChg>
        <pc:spChg chg="mod">
          <ac:chgData name="rhashimoto@hks.harvard.edu" userId="S::urn:spo:guest#rhashimoto@hks.harvard.edu::" providerId="AD" clId="Web-{B2D10E0D-B388-2914-9FBF-7FAEF8FDF795}" dt="2020-12-06T19:10:11.410" v="164" actId="20577"/>
          <ac:spMkLst>
            <pc:docMk/>
            <pc:sldMk cId="3952555209" sldId="324"/>
            <ac:spMk id="105" creationId="{C77AB881-33B0-45B8-A110-6FFC2586468F}"/>
          </ac:spMkLst>
        </pc:spChg>
        <pc:spChg chg="add mod">
          <ac:chgData name="rhashimoto@hks.harvard.edu" userId="S::urn:spo:guest#rhashimoto@hks.harvard.edu::" providerId="AD" clId="Web-{B2D10E0D-B388-2914-9FBF-7FAEF8FDF795}" dt="2020-12-06T19:39:46.806" v="220" actId="20577"/>
          <ac:spMkLst>
            <pc:docMk/>
            <pc:sldMk cId="3952555209" sldId="324"/>
            <ac:spMk id="107" creationId="{9CFE3035-769A-4EE7-AA88-7E333123CA10}"/>
          </ac:spMkLst>
        </pc:spChg>
        <pc:spChg chg="mod">
          <ac:chgData name="rhashimoto@hks.harvard.edu" userId="S::urn:spo:guest#rhashimoto@hks.harvard.edu::" providerId="AD" clId="Web-{B2D10E0D-B388-2914-9FBF-7FAEF8FDF795}" dt="2020-12-06T19:53:51.940" v="241" actId="20577"/>
          <ac:spMkLst>
            <pc:docMk/>
            <pc:sldMk cId="3952555209" sldId="324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B2D10E0D-B388-2914-9FBF-7FAEF8FDF795}" dt="2020-12-06T19:34:52.063" v="187" actId="20577"/>
          <ac:spMkLst>
            <pc:docMk/>
            <pc:sldMk cId="3952555209" sldId="324"/>
            <ac:spMk id="130" creationId="{55C971F1-C180-4F1A-A86C-B7E73756EA4E}"/>
          </ac:spMkLst>
        </pc:spChg>
        <pc:spChg chg="mod">
          <ac:chgData name="rhashimoto@hks.harvard.edu" userId="S::urn:spo:guest#rhashimoto@hks.harvard.edu::" providerId="AD" clId="Web-{B2D10E0D-B388-2914-9FBF-7FAEF8FDF795}" dt="2020-12-06T19:34:58.922" v="189" actId="20577"/>
          <ac:spMkLst>
            <pc:docMk/>
            <pc:sldMk cId="3952555209" sldId="324"/>
            <ac:spMk id="131" creationId="{8EEF460E-8D94-4093-A055-4B89FAF81A20}"/>
          </ac:spMkLst>
        </pc:spChg>
        <pc:spChg chg="mod">
          <ac:chgData name="rhashimoto@hks.harvard.edu" userId="S::urn:spo:guest#rhashimoto@hks.harvard.edu::" providerId="AD" clId="Web-{B2D10E0D-B388-2914-9FBF-7FAEF8FDF795}" dt="2020-12-06T19:35:16.970" v="191" actId="14100"/>
          <ac:spMkLst>
            <pc:docMk/>
            <pc:sldMk cId="3952555209" sldId="324"/>
            <ac:spMk id="134" creationId="{C75C70B4-FB0C-4ED7-B58B-6188C6727350}"/>
          </ac:spMkLst>
        </pc:spChg>
        <pc:spChg chg="mod">
          <ac:chgData name="rhashimoto@hks.harvard.edu" userId="S::urn:spo:guest#rhashimoto@hks.harvard.edu::" providerId="AD" clId="Web-{B2D10E0D-B388-2914-9FBF-7FAEF8FDF795}" dt="2020-12-06T19:35:29.173" v="193" actId="1076"/>
          <ac:spMkLst>
            <pc:docMk/>
            <pc:sldMk cId="3952555209" sldId="324"/>
            <ac:spMk id="135" creationId="{EB50CA13-F7D3-4553-ADC4-0A45E508BF7D}"/>
          </ac:spMkLst>
        </pc:spChg>
        <pc:spChg chg="del mod">
          <ac:chgData name="rhashimoto@hks.harvard.edu" userId="S::urn:spo:guest#rhashimoto@hks.harvard.edu::" providerId="AD" clId="Web-{B2D10E0D-B388-2914-9FBF-7FAEF8FDF795}" dt="2020-12-06T19:36:21.409" v="201"/>
          <ac:spMkLst>
            <pc:docMk/>
            <pc:sldMk cId="3952555209" sldId="324"/>
            <ac:spMk id="139" creationId="{D3A9A234-AE1A-475F-8614-CE1FA9F89D0F}"/>
          </ac:spMkLst>
        </pc:spChg>
        <pc:spChg chg="mod">
          <ac:chgData name="rhashimoto@hks.harvard.edu" userId="S::urn:spo:guest#rhashimoto@hks.harvard.edu::" providerId="AD" clId="Web-{B2D10E0D-B388-2914-9FBF-7FAEF8FDF795}" dt="2020-12-06T19:35:48.892" v="196" actId="14100"/>
          <ac:spMkLst>
            <pc:docMk/>
            <pc:sldMk cId="3952555209" sldId="324"/>
            <ac:spMk id="143" creationId="{586AC623-5014-4B71-9F63-BAA1D2D72820}"/>
          </ac:spMkLst>
        </pc:spChg>
        <pc:spChg chg="mod">
          <ac:chgData name="rhashimoto@hks.harvard.edu" userId="S::urn:spo:guest#rhashimoto@hks.harvard.edu::" providerId="AD" clId="Web-{B2D10E0D-B388-2914-9FBF-7FAEF8FDF795}" dt="2020-12-06T19:36:38.347" v="206" actId="1076"/>
          <ac:spMkLst>
            <pc:docMk/>
            <pc:sldMk cId="3952555209" sldId="324"/>
            <ac:spMk id="144" creationId="{5DB47FE4-B406-4155-AA79-5766E46184AC}"/>
          </ac:spMkLst>
        </pc:spChg>
        <pc:spChg chg="mod">
          <ac:chgData name="rhashimoto@hks.harvard.edu" userId="S::urn:spo:guest#rhashimoto@hks.harvard.edu::" providerId="AD" clId="Web-{B2D10E0D-B388-2914-9FBF-7FAEF8FDF795}" dt="2020-12-06T19:39:54.556" v="224" actId="20577"/>
          <ac:spMkLst>
            <pc:docMk/>
            <pc:sldMk cId="3952555209" sldId="324"/>
            <ac:spMk id="149" creationId="{4B667302-5A92-4959-A3EC-7FFEA0C70F54}"/>
          </ac:spMkLst>
        </pc:spChg>
        <pc:spChg chg="mod">
          <ac:chgData name="rhashimoto@hks.harvard.edu" userId="S::urn:spo:guest#rhashimoto@hks.harvard.edu::" providerId="AD" clId="Web-{B2D10E0D-B388-2914-9FBF-7FAEF8FDF795}" dt="2020-12-06T19:40:12.337" v="233" actId="20577"/>
          <ac:spMkLst>
            <pc:docMk/>
            <pc:sldMk cId="3952555209" sldId="324"/>
            <ac:spMk id="156" creationId="{36CEB783-C047-4C46-A349-C94D822665B8}"/>
          </ac:spMkLst>
        </pc:spChg>
        <pc:spChg chg="mod">
          <ac:chgData name="rhashimoto@hks.harvard.edu" userId="S::urn:spo:guest#rhashimoto@hks.harvard.edu::" providerId="AD" clId="Web-{B2D10E0D-B388-2914-9FBF-7FAEF8FDF795}" dt="2020-12-06T19:40:20.166" v="234" actId="20577"/>
          <ac:spMkLst>
            <pc:docMk/>
            <pc:sldMk cId="3952555209" sldId="324"/>
            <ac:spMk id="157" creationId="{ABB78A88-9E60-4F19-95F4-B3EEB2F90309}"/>
          </ac:spMkLst>
        </pc:spChg>
        <pc:spChg chg="mod">
          <ac:chgData name="rhashimoto@hks.harvard.edu" userId="S::urn:spo:guest#rhashimoto@hks.harvard.edu::" providerId="AD" clId="Web-{B2D10E0D-B388-2914-9FBF-7FAEF8FDF795}" dt="2020-12-06T19:54:29.566" v="242" actId="20577"/>
          <ac:spMkLst>
            <pc:docMk/>
            <pc:sldMk cId="3952555209" sldId="324"/>
            <ac:spMk id="162" creationId="{2E325347-D028-480C-A7A2-26F593B410D4}"/>
          </ac:spMkLst>
        </pc:spChg>
        <pc:grpChg chg="add">
          <ac:chgData name="rhashimoto@hks.harvard.edu" userId="S::urn:spo:guest#rhashimoto@hks.harvard.edu::" providerId="AD" clId="Web-{B2D10E0D-B388-2914-9FBF-7FAEF8FDF795}" dt="2020-12-06T19:37:01.910" v="212"/>
          <ac:grpSpMkLst>
            <pc:docMk/>
            <pc:sldMk cId="3952555209" sldId="324"/>
            <ac:grpSpMk id="11" creationId="{CED62419-CD79-4C68-ACC2-7014A4AE3BD2}"/>
          </ac:grpSpMkLst>
        </pc:grpChg>
        <pc:grpChg chg="mod">
          <ac:chgData name="rhashimoto@hks.harvard.edu" userId="S::urn:spo:guest#rhashimoto@hks.harvard.edu::" providerId="AD" clId="Web-{B2D10E0D-B388-2914-9FBF-7FAEF8FDF795}" dt="2020-12-06T19:35:35.876" v="195" actId="14100"/>
          <ac:grpSpMkLst>
            <pc:docMk/>
            <pc:sldMk cId="3952555209" sldId="324"/>
            <ac:grpSpMk id="142" creationId="{7B01DB03-BB6F-4FAD-8BF3-89363A2D6D2A}"/>
          </ac:grpSpMkLst>
        </pc:grpChg>
      </pc:sldChg>
    </pc:docChg>
  </pc:docChgLst>
  <pc:docChgLst>
    <pc:chgData name="Yaguchi, Yuki" userId="9e7febd7-de72-456b-b9f9-531c0b578ad5" providerId="ADAL" clId="{ED9953DB-3CD1-4146-A174-DC56D2B9F6FC}"/>
    <pc:docChg chg="undo custSel addSld delSld modSld modMainMaster">
      <pc:chgData name="Yaguchi, Yuki" userId="9e7febd7-de72-456b-b9f9-531c0b578ad5" providerId="ADAL" clId="{ED9953DB-3CD1-4146-A174-DC56D2B9F6FC}" dt="2020-12-09T16:16:43.921" v="1210" actId="20577"/>
      <pc:docMkLst>
        <pc:docMk/>
      </pc:docMkLst>
      <pc:sldChg chg="del">
        <pc:chgData name="Yaguchi, Yuki" userId="9e7febd7-de72-456b-b9f9-531c0b578ad5" providerId="ADAL" clId="{ED9953DB-3CD1-4146-A174-DC56D2B9F6FC}" dt="2020-12-09T16:07:43.887" v="1054" actId="2696"/>
        <pc:sldMkLst>
          <pc:docMk/>
          <pc:sldMk cId="3984617762" sldId="257"/>
        </pc:sldMkLst>
      </pc:sldChg>
      <pc:sldChg chg="addSp delSp modSp">
        <pc:chgData name="Yaguchi, Yuki" userId="9e7febd7-de72-456b-b9f9-531c0b578ad5" providerId="ADAL" clId="{ED9953DB-3CD1-4146-A174-DC56D2B9F6FC}" dt="2020-12-09T15:45:27.394" v="1046" actId="20577"/>
        <pc:sldMkLst>
          <pc:docMk/>
          <pc:sldMk cId="3145321926" sldId="271"/>
        </pc:sldMkLst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2" creationId="{5A7E9D16-67DF-4A3A-B1CF-0BEC05BA6CCA}"/>
          </ac:spMkLst>
        </pc:spChg>
        <pc:spChg chg="add del mod">
          <ac:chgData name="Yaguchi, Yuki" userId="9e7febd7-de72-456b-b9f9-531c0b578ad5" providerId="ADAL" clId="{ED9953DB-3CD1-4146-A174-DC56D2B9F6FC}" dt="2020-12-08T00:10:27.309" v="482" actId="478"/>
          <ac:spMkLst>
            <pc:docMk/>
            <pc:sldMk cId="3145321926" sldId="271"/>
            <ac:spMk id="3" creationId="{20319020-A049-435E-A56C-6795A9103020}"/>
          </ac:spMkLst>
        </pc:spChg>
        <pc:spChg chg="add mod or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3" creationId="{774F9CE3-3C81-41F4-A698-D4B591FABDFB}"/>
          </ac:spMkLst>
        </pc:spChg>
        <pc:spChg chg="mod">
          <ac:chgData name="Yaguchi, Yuki" userId="9e7febd7-de72-456b-b9f9-531c0b578ad5" providerId="ADAL" clId="{ED9953DB-3CD1-4146-A174-DC56D2B9F6FC}" dt="2020-12-08T19:03:44.240" v="557" actId="1076"/>
          <ac:spMkLst>
            <pc:docMk/>
            <pc:sldMk cId="3145321926" sldId="271"/>
            <ac:spMk id="7" creationId="{61D75854-4415-4E17-AEAB-9E0A9330A693}"/>
          </ac:spMkLst>
        </pc:spChg>
        <pc:spChg chg="mod">
          <ac:chgData name="Yaguchi, Yuki" userId="9e7febd7-de72-456b-b9f9-531c0b578ad5" providerId="ADAL" clId="{ED9953DB-3CD1-4146-A174-DC56D2B9F6FC}" dt="2020-12-08T00:05:56.871" v="480" actId="108"/>
          <ac:spMkLst>
            <pc:docMk/>
            <pc:sldMk cId="3145321926" sldId="271"/>
            <ac:spMk id="10" creationId="{E7FB5E50-C110-4645-8045-906AD0D3E313}"/>
          </ac:spMkLst>
        </pc:spChg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16" creationId="{5616B82C-99DA-41C4-86E1-A42363885388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18" creationId="{637489A0-2E6F-4954-B9E7-43F7F30B60DF}"/>
          </ac:spMkLst>
        </pc:spChg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19" creationId="{5DA902A6-742A-4868-8A71-9D52B1FE4D40}"/>
          </ac:spMkLst>
        </pc:spChg>
        <pc:spChg chg="del">
          <ac:chgData name="Yaguchi, Yuki" userId="9e7febd7-de72-456b-b9f9-531c0b578ad5" providerId="ADAL" clId="{ED9953DB-3CD1-4146-A174-DC56D2B9F6FC}" dt="2020-12-05T18:50:27.587" v="2" actId="478"/>
          <ac:spMkLst>
            <pc:docMk/>
            <pc:sldMk cId="3145321926" sldId="271"/>
            <ac:spMk id="19" creationId="{FC4B1C8C-3BF4-4317-B53F-EE4A3923ABFD}"/>
          </ac:spMkLst>
        </pc:spChg>
        <pc:spChg chg="add del mod">
          <ac:chgData name="Yaguchi, Yuki" userId="9e7febd7-de72-456b-b9f9-531c0b578ad5" providerId="ADAL" clId="{ED9953DB-3CD1-4146-A174-DC56D2B9F6FC}" dt="2020-12-08T19:07:33.741" v="637" actId="11529"/>
          <ac:spMkLst>
            <pc:docMk/>
            <pc:sldMk cId="3145321926" sldId="271"/>
            <ac:spMk id="21" creationId="{E8075C32-0EBC-4DFB-8515-DAF3874C0CA5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40" creationId="{1471476D-57EA-4FAC-A540-8310A657EA39}"/>
          </ac:spMkLst>
        </pc:spChg>
        <pc:spChg chg="mod">
          <ac:chgData name="Yaguchi, Yuki" userId="9e7febd7-de72-456b-b9f9-531c0b578ad5" providerId="ADAL" clId="{ED9953DB-3CD1-4146-A174-DC56D2B9F6FC}" dt="2020-12-08T19:05:01.371" v="588" actId="403"/>
          <ac:spMkLst>
            <pc:docMk/>
            <pc:sldMk cId="3145321926" sldId="271"/>
            <ac:spMk id="41" creationId="{2E3853B9-5149-4D8C-AE85-8D15BD79F2C2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42" creationId="{952A29CC-E3F4-44A9-84DA-BAD4077583D4}"/>
          </ac:spMkLst>
        </pc:spChg>
        <pc:spChg chg="mod">
          <ac:chgData name="Yaguchi, Yuki" userId="9e7febd7-de72-456b-b9f9-531c0b578ad5" providerId="ADAL" clId="{ED9953DB-3CD1-4146-A174-DC56D2B9F6FC}" dt="2020-12-08T19:04:15.261" v="571" actId="403"/>
          <ac:spMkLst>
            <pc:docMk/>
            <pc:sldMk cId="3145321926" sldId="271"/>
            <ac:spMk id="43" creationId="{1323DFB1-7FB8-4025-92E2-FF5C602C7479}"/>
          </ac:spMkLst>
        </pc:spChg>
        <pc:spChg chg="mod">
          <ac:chgData name="Yaguchi, Yuki" userId="9e7febd7-de72-456b-b9f9-531c0b578ad5" providerId="ADAL" clId="{ED9953DB-3CD1-4146-A174-DC56D2B9F6FC}" dt="2020-12-05T18:51:37.505" v="30" actId="14100"/>
          <ac:spMkLst>
            <pc:docMk/>
            <pc:sldMk cId="3145321926" sldId="271"/>
            <ac:spMk id="46" creationId="{5EF5A04A-4329-4C5F-A8B1-B5DBE47C849F}"/>
          </ac:spMkLst>
        </pc:spChg>
        <pc:spChg chg="del">
          <ac:chgData name="Yaguchi, Yuki" userId="9e7febd7-de72-456b-b9f9-531c0b578ad5" providerId="ADAL" clId="{ED9953DB-3CD1-4146-A174-DC56D2B9F6FC}" dt="2020-12-05T18:50:31.949" v="3" actId="478"/>
          <ac:spMkLst>
            <pc:docMk/>
            <pc:sldMk cId="3145321926" sldId="271"/>
            <ac:spMk id="48" creationId="{34324557-A3FB-41DD-8D5B-B28241A9A878}"/>
          </ac:spMkLst>
        </pc:spChg>
        <pc:spChg chg="mod">
          <ac:chgData name="Yaguchi, Yuki" userId="9e7febd7-de72-456b-b9f9-531c0b578ad5" providerId="ADAL" clId="{ED9953DB-3CD1-4146-A174-DC56D2B9F6FC}" dt="2020-12-08T19:02:41.780" v="511" actId="1076"/>
          <ac:spMkLst>
            <pc:docMk/>
            <pc:sldMk cId="3145321926" sldId="271"/>
            <ac:spMk id="56" creationId="{300BE465-19DF-4E6A-AE00-B648FDFC4F8E}"/>
          </ac:spMkLst>
        </pc:spChg>
        <pc:spChg chg="mod">
          <ac:chgData name="Yaguchi, Yuki" userId="9e7febd7-de72-456b-b9f9-531c0b578ad5" providerId="ADAL" clId="{ED9953DB-3CD1-4146-A174-DC56D2B9F6FC}" dt="2020-12-09T15:43:48.745" v="1038" actId="1076"/>
          <ac:spMkLst>
            <pc:docMk/>
            <pc:sldMk cId="3145321926" sldId="271"/>
            <ac:spMk id="63" creationId="{3B87171A-2363-4AB8-9D32-85F1EEC1BE62}"/>
          </ac:spMkLst>
        </pc:spChg>
        <pc:spChg chg="mod">
          <ac:chgData name="Yaguchi, Yuki" userId="9e7febd7-de72-456b-b9f9-531c0b578ad5" providerId="ADAL" clId="{ED9953DB-3CD1-4146-A174-DC56D2B9F6FC}" dt="2020-12-05T19:27:54.571" v="222" actId="1076"/>
          <ac:spMkLst>
            <pc:docMk/>
            <pc:sldMk cId="3145321926" sldId="271"/>
            <ac:spMk id="87" creationId="{FD6B039C-D7CC-4D97-B95F-1361242B5170}"/>
          </ac:spMkLst>
        </pc:spChg>
        <pc:spChg chg="mod">
          <ac:chgData name="Yaguchi, Yuki" userId="9e7febd7-de72-456b-b9f9-531c0b578ad5" providerId="ADAL" clId="{ED9953DB-3CD1-4146-A174-DC56D2B9F6FC}" dt="2020-12-05T21:39:07.934" v="309" actId="1076"/>
          <ac:spMkLst>
            <pc:docMk/>
            <pc:sldMk cId="3145321926" sldId="271"/>
            <ac:spMk id="89" creationId="{24FFC47B-4596-48E5-B378-C258F7F3F6F5}"/>
          </ac:spMkLst>
        </pc:spChg>
        <pc:spChg chg="mod">
          <ac:chgData name="Yaguchi, Yuki" userId="9e7febd7-de72-456b-b9f9-531c0b578ad5" providerId="ADAL" clId="{ED9953DB-3CD1-4146-A174-DC56D2B9F6FC}" dt="2020-12-09T15:45:24.094" v="1042" actId="20577"/>
          <ac:spMkLst>
            <pc:docMk/>
            <pc:sldMk cId="3145321926" sldId="271"/>
            <ac:spMk id="111" creationId="{2A2F134C-15D6-4B8F-BA40-715103E945FB}"/>
          </ac:spMkLst>
        </pc:spChg>
        <pc:spChg chg="mod">
          <ac:chgData name="Yaguchi, Yuki" userId="9e7febd7-de72-456b-b9f9-531c0b578ad5" providerId="ADAL" clId="{ED9953DB-3CD1-4146-A174-DC56D2B9F6FC}" dt="2020-12-05T21:39:20.750" v="311" actId="12788"/>
          <ac:spMkLst>
            <pc:docMk/>
            <pc:sldMk cId="3145321926" sldId="271"/>
            <ac:spMk id="112" creationId="{5547C13F-B6AE-4737-89B5-83D55FE88638}"/>
          </ac:spMkLst>
        </pc:spChg>
        <pc:spChg chg="mod">
          <ac:chgData name="Yaguchi, Yuki" userId="9e7febd7-de72-456b-b9f9-531c0b578ad5" providerId="ADAL" clId="{ED9953DB-3CD1-4146-A174-DC56D2B9F6FC}" dt="2020-12-09T15:45:27.394" v="1046" actId="20577"/>
          <ac:spMkLst>
            <pc:docMk/>
            <pc:sldMk cId="3145321926" sldId="271"/>
            <ac:spMk id="113" creationId="{47258DD5-9385-4AF8-9C17-F5E4373390F9}"/>
          </ac:spMkLst>
        </pc:spChg>
        <pc:spChg chg="mod">
          <ac:chgData name="Yaguchi, Yuki" userId="9e7febd7-de72-456b-b9f9-531c0b578ad5" providerId="ADAL" clId="{ED9953DB-3CD1-4146-A174-DC56D2B9F6FC}" dt="2020-12-05T18:52:26.892" v="112" actId="20577"/>
          <ac:spMkLst>
            <pc:docMk/>
            <pc:sldMk cId="3145321926" sldId="271"/>
            <ac:spMk id="115" creationId="{2F160279-0717-4B08-B99D-72D7147AE38D}"/>
          </ac:spMkLst>
        </pc:spChg>
        <pc:spChg chg="add mod">
          <ac:chgData name="Yaguchi, Yuki" userId="9e7febd7-de72-456b-b9f9-531c0b578ad5" providerId="ADAL" clId="{ED9953DB-3CD1-4146-A174-DC56D2B9F6FC}" dt="2020-12-08T19:07:39.775" v="638" actId="164"/>
          <ac:spMkLst>
            <pc:docMk/>
            <pc:sldMk cId="3145321926" sldId="271"/>
            <ac:spMk id="123" creationId="{60676DDB-CDCE-48AF-AA3A-11E302C04D4F}"/>
          </ac:spMkLst>
        </pc:spChg>
        <pc:spChg chg="mod">
          <ac:chgData name="Yaguchi, Yuki" userId="9e7febd7-de72-456b-b9f9-531c0b578ad5" providerId="ADAL" clId="{ED9953DB-3CD1-4146-A174-DC56D2B9F6FC}" dt="2020-12-05T21:39:45.166" v="319" actId="6549"/>
          <ac:spMkLst>
            <pc:docMk/>
            <pc:sldMk cId="3145321926" sldId="271"/>
            <ac:spMk id="124" creationId="{437A2383-5328-4EA5-968D-D76B17A2C3EA}"/>
          </ac:spMkLst>
        </pc:spChg>
        <pc:grpChg chg="del">
          <ac:chgData name="Yaguchi, Yuki" userId="9e7febd7-de72-456b-b9f9-531c0b578ad5" providerId="ADAL" clId="{ED9953DB-3CD1-4146-A174-DC56D2B9F6FC}" dt="2020-12-05T21:43:58.142" v="370" actId="478"/>
          <ac:grpSpMkLst>
            <pc:docMk/>
            <pc:sldMk cId="3145321926" sldId="271"/>
            <ac:grpSpMk id="14" creationId="{0357D73C-11CB-4327-A9C9-C358D61FDBA7}"/>
          </ac:grpSpMkLst>
        </pc:grpChg>
        <pc:grpChg chg="add del mod ord">
          <ac:chgData name="Yaguchi, Yuki" userId="9e7febd7-de72-456b-b9f9-531c0b578ad5" providerId="ADAL" clId="{ED9953DB-3CD1-4146-A174-DC56D2B9F6FC}" dt="2020-12-08T19:07:39.775" v="638" actId="164"/>
          <ac:grpSpMkLst>
            <pc:docMk/>
            <pc:sldMk cId="3145321926" sldId="271"/>
            <ac:grpSpMk id="20" creationId="{0F920116-1AD9-4FF1-AABA-0B9E70921ADB}"/>
          </ac:grpSpMkLst>
        </pc:grpChg>
        <pc:grpChg chg="add mod">
          <ac:chgData name="Yaguchi, Yuki" userId="9e7febd7-de72-456b-b9f9-531c0b578ad5" providerId="ADAL" clId="{ED9953DB-3CD1-4146-A174-DC56D2B9F6FC}" dt="2020-12-08T19:07:44.246" v="639" actId="1076"/>
          <ac:grpSpMkLst>
            <pc:docMk/>
            <pc:sldMk cId="3145321926" sldId="271"/>
            <ac:grpSpMk id="22" creationId="{730A3822-EB84-45BA-A243-97191560F11B}"/>
          </ac:grpSpMkLst>
        </pc:grpChg>
        <pc:grpChg chg="add">
          <ac:chgData name="Yaguchi, Yuki" userId="9e7febd7-de72-456b-b9f9-531c0b578ad5" providerId="ADAL" clId="{ED9953DB-3CD1-4146-A174-DC56D2B9F6FC}" dt="2020-12-05T21:43:58.370" v="371"/>
          <ac:grpSpMkLst>
            <pc:docMk/>
            <pc:sldMk cId="3145321926" sldId="271"/>
            <ac:grpSpMk id="93" creationId="{08A673F7-0A42-408A-84C7-619F4BA08399}"/>
          </ac:grpSpMkLst>
        </pc:grpChg>
        <pc:cxnChg chg="add mod">
          <ac:chgData name="Yaguchi, Yuki" userId="9e7febd7-de72-456b-b9f9-531c0b578ad5" providerId="ADAL" clId="{ED9953DB-3CD1-4146-A174-DC56D2B9F6FC}" dt="2020-12-08T19:07:39.775" v="638" actId="164"/>
          <ac:cxnSpMkLst>
            <pc:docMk/>
            <pc:sldMk cId="3145321926" sldId="271"/>
            <ac:cxnSpMk id="11" creationId="{021A9ACA-0383-416E-A665-3A51CC62E338}"/>
          </ac:cxnSpMkLst>
        </pc:cxnChg>
        <pc:cxnChg chg="add mod">
          <ac:chgData name="Yaguchi, Yuki" userId="9e7febd7-de72-456b-b9f9-531c0b578ad5" providerId="ADAL" clId="{ED9953DB-3CD1-4146-A174-DC56D2B9F6FC}" dt="2020-12-08T19:07:39.775" v="638" actId="164"/>
          <ac:cxnSpMkLst>
            <pc:docMk/>
            <pc:sldMk cId="3145321926" sldId="271"/>
            <ac:cxnSpMk id="122" creationId="{BAAC29C1-93FF-4432-AA84-209D4594555A}"/>
          </ac:cxnSpMkLst>
        </pc:cxnChg>
      </pc:sldChg>
      <pc:sldChg chg="modSp">
        <pc:chgData name="Yaguchi, Yuki" userId="9e7febd7-de72-456b-b9f9-531c0b578ad5" providerId="ADAL" clId="{ED9953DB-3CD1-4146-A174-DC56D2B9F6FC}" dt="2020-12-09T16:10:26.586" v="1150" actId="14100"/>
        <pc:sldMkLst>
          <pc:docMk/>
          <pc:sldMk cId="1299102547" sldId="298"/>
        </pc:sldMkLst>
        <pc:spChg chg="mod">
          <ac:chgData name="Yaguchi, Yuki" userId="9e7febd7-de72-456b-b9f9-531c0b578ad5" providerId="ADAL" clId="{ED9953DB-3CD1-4146-A174-DC56D2B9F6FC}" dt="2020-12-09T16:07:37.279" v="1053" actId="20577"/>
          <ac:spMkLst>
            <pc:docMk/>
            <pc:sldMk cId="1299102547" sldId="298"/>
            <ac:spMk id="2" creationId="{DEE8BF7C-21D2-4806-AB29-2CCA2E7A01A0}"/>
          </ac:spMkLst>
        </pc:spChg>
        <pc:spChg chg="mod">
          <ac:chgData name="Yaguchi, Yuki" userId="9e7febd7-de72-456b-b9f9-531c0b578ad5" providerId="ADAL" clId="{ED9953DB-3CD1-4146-A174-DC56D2B9F6FC}" dt="2020-12-09T16:10:26.586" v="1150" actId="14100"/>
          <ac:spMkLst>
            <pc:docMk/>
            <pc:sldMk cId="1299102547" sldId="298"/>
            <ac:spMk id="3" creationId="{F40226FB-7070-42AB-88C9-0B960F8A48A3}"/>
          </ac:spMkLst>
        </pc:spChg>
        <pc:spChg chg="mod">
          <ac:chgData name="Yaguchi, Yuki" userId="9e7febd7-de72-456b-b9f9-531c0b578ad5" providerId="ADAL" clId="{ED9953DB-3CD1-4146-A174-DC56D2B9F6FC}" dt="2020-12-09T16:08:52.742" v="1061" actId="1076"/>
          <ac:spMkLst>
            <pc:docMk/>
            <pc:sldMk cId="1299102547" sldId="298"/>
            <ac:spMk id="8" creationId="{7CE03B2C-3058-4002-896A-BD958086905F}"/>
          </ac:spMkLst>
        </pc:spChg>
      </pc:sldChg>
      <pc:sldChg chg="modSp">
        <pc:chgData name="Yaguchi, Yuki" userId="9e7febd7-de72-456b-b9f9-531c0b578ad5" providerId="ADAL" clId="{ED9953DB-3CD1-4146-A174-DC56D2B9F6FC}" dt="2020-12-09T16:14:08.526" v="1152" actId="20577"/>
        <pc:sldMkLst>
          <pc:docMk/>
          <pc:sldMk cId="3854227752" sldId="319"/>
        </pc:sldMkLst>
        <pc:spChg chg="mod">
          <ac:chgData name="Yaguchi, Yuki" userId="9e7febd7-de72-456b-b9f9-531c0b578ad5" providerId="ADAL" clId="{ED9953DB-3CD1-4146-A174-DC56D2B9F6FC}" dt="2020-12-09T16:14:08.526" v="1152" actId="20577"/>
          <ac:spMkLst>
            <pc:docMk/>
            <pc:sldMk cId="3854227752" sldId="319"/>
            <ac:spMk id="3" creationId="{7E8C892A-0698-4EA5-B736-48B2F014CD37}"/>
          </ac:spMkLst>
        </pc:spChg>
      </pc:sldChg>
      <pc:sldChg chg="addSp delSp modSp">
        <pc:chgData name="Yaguchi, Yuki" userId="9e7febd7-de72-456b-b9f9-531c0b578ad5" providerId="ADAL" clId="{ED9953DB-3CD1-4146-A174-DC56D2B9F6FC}" dt="2020-12-09T16:15:55.772" v="1156" actId="20577"/>
        <pc:sldMkLst>
          <pc:docMk/>
          <pc:sldMk cId="3223501995" sldId="323"/>
        </pc:sldMkLst>
        <pc:spChg chg="mod">
          <ac:chgData name="Yaguchi, Yuki" userId="9e7febd7-de72-456b-b9f9-531c0b578ad5" providerId="ADAL" clId="{ED9953DB-3CD1-4146-A174-DC56D2B9F6FC}" dt="2020-12-05T21:41:04.254" v="367" actId="6549"/>
          <ac:spMkLst>
            <pc:docMk/>
            <pc:sldMk cId="3223501995" sldId="323"/>
            <ac:spMk id="11" creationId="{BA88F4A1-D1EA-4BB3-BEF7-C19666C514F6}"/>
          </ac:spMkLst>
        </pc:spChg>
        <pc:spChg chg="mod">
          <ac:chgData name="Yaguchi, Yuki" userId="9e7febd7-de72-456b-b9f9-531c0b578ad5" providerId="ADAL" clId="{ED9953DB-3CD1-4146-A174-DC56D2B9F6FC}" dt="2020-12-09T15:28:29.584" v="712" actId="20577"/>
          <ac:spMkLst>
            <pc:docMk/>
            <pc:sldMk cId="3223501995" sldId="323"/>
            <ac:spMk id="114" creationId="{61BA0CB8-5A54-4818-A649-4629B4CFDF53}"/>
          </ac:spMkLst>
        </pc:spChg>
        <pc:spChg chg="mod">
          <ac:chgData name="Yaguchi, Yuki" userId="9e7febd7-de72-456b-b9f9-531c0b578ad5" providerId="ADAL" clId="{ED9953DB-3CD1-4146-A174-DC56D2B9F6FC}" dt="2020-12-09T15:28:59.784" v="724" actId="1076"/>
          <ac:spMkLst>
            <pc:docMk/>
            <pc:sldMk cId="3223501995" sldId="323"/>
            <ac:spMk id="116" creationId="{027BB08F-16CC-41DF-9B93-489E76EDFFA2}"/>
          </ac:spMkLst>
        </pc:spChg>
        <pc:spChg chg="mod">
          <ac:chgData name="Yaguchi, Yuki" userId="9e7febd7-de72-456b-b9f9-531c0b578ad5" providerId="ADAL" clId="{ED9953DB-3CD1-4146-A174-DC56D2B9F6FC}" dt="2020-12-09T15:29:34.942" v="730" actId="108"/>
          <ac:spMkLst>
            <pc:docMk/>
            <pc:sldMk cId="3223501995" sldId="323"/>
            <ac:spMk id="118" creationId="{A34DCAC0-9654-419B-877A-B67B1D3A1911}"/>
          </ac:spMkLst>
        </pc:spChg>
        <pc:spChg chg="mod">
          <ac:chgData name="Yaguchi, Yuki" userId="9e7febd7-de72-456b-b9f9-531c0b578ad5" providerId="ADAL" clId="{ED9953DB-3CD1-4146-A174-DC56D2B9F6FC}" dt="2020-12-09T15:29:37.814" v="731" actId="108"/>
          <ac:spMkLst>
            <pc:docMk/>
            <pc:sldMk cId="3223501995" sldId="323"/>
            <ac:spMk id="119" creationId="{8F0E5D87-765A-42A8-BFE0-7BF2E9EEC118}"/>
          </ac:spMkLst>
        </pc:spChg>
        <pc:spChg chg="mod">
          <ac:chgData name="Yaguchi, Yuki" userId="9e7febd7-de72-456b-b9f9-531c0b578ad5" providerId="ADAL" clId="{ED9953DB-3CD1-4146-A174-DC56D2B9F6FC}" dt="2020-12-09T15:29:22.526" v="729" actId="108"/>
          <ac:spMkLst>
            <pc:docMk/>
            <pc:sldMk cId="3223501995" sldId="323"/>
            <ac:spMk id="122" creationId="{D5485B06-88BD-41A4-8C03-6079FD4CD269}"/>
          </ac:spMkLst>
        </pc:spChg>
        <pc:spChg chg="mod">
          <ac:chgData name="Yaguchi, Yuki" userId="9e7febd7-de72-456b-b9f9-531c0b578ad5" providerId="ADAL" clId="{ED9953DB-3CD1-4146-A174-DC56D2B9F6FC}" dt="2020-12-09T15:29:42.665" v="732" actId="108"/>
          <ac:spMkLst>
            <pc:docMk/>
            <pc:sldMk cId="3223501995" sldId="323"/>
            <ac:spMk id="129" creationId="{92B38C06-C7EF-4C23-962A-BA9723161368}"/>
          </ac:spMkLst>
        </pc:spChg>
        <pc:spChg chg="mod">
          <ac:chgData name="Yaguchi, Yuki" userId="9e7febd7-de72-456b-b9f9-531c0b578ad5" providerId="ADAL" clId="{ED9953DB-3CD1-4146-A174-DC56D2B9F6FC}" dt="2020-12-09T15:29:50.925" v="733" actId="108"/>
          <ac:spMkLst>
            <pc:docMk/>
            <pc:sldMk cId="3223501995" sldId="323"/>
            <ac:spMk id="130" creationId="{01C81C44-20D3-4136-8F78-F08D02F45DB2}"/>
          </ac:spMkLst>
        </pc:spChg>
        <pc:spChg chg="mod">
          <ac:chgData name="Yaguchi, Yuki" userId="9e7febd7-de72-456b-b9f9-531c0b578ad5" providerId="ADAL" clId="{ED9953DB-3CD1-4146-A174-DC56D2B9F6FC}" dt="2020-12-09T15:29:05.920" v="726"/>
          <ac:spMkLst>
            <pc:docMk/>
            <pc:sldMk cId="3223501995" sldId="323"/>
            <ac:spMk id="131" creationId="{572F1B5D-62B1-481A-BD5B-885DCE6D4FFD}"/>
          </ac:spMkLst>
        </pc:spChg>
        <pc:spChg chg="mod">
          <ac:chgData name="Yaguchi, Yuki" userId="9e7febd7-de72-456b-b9f9-531c0b578ad5" providerId="ADAL" clId="{ED9953DB-3CD1-4146-A174-DC56D2B9F6FC}" dt="2020-12-09T15:29:09.445" v="727"/>
          <ac:spMkLst>
            <pc:docMk/>
            <pc:sldMk cId="3223501995" sldId="323"/>
            <ac:spMk id="132" creationId="{BB30776B-845F-4ECE-B5BF-7245A36A0852}"/>
          </ac:spMkLst>
        </pc:spChg>
        <pc:spChg chg="mod">
          <ac:chgData name="Yaguchi, Yuki" userId="9e7febd7-de72-456b-b9f9-531c0b578ad5" providerId="ADAL" clId="{ED9953DB-3CD1-4146-A174-DC56D2B9F6FC}" dt="2020-12-09T15:29:12.340" v="728"/>
          <ac:spMkLst>
            <pc:docMk/>
            <pc:sldMk cId="3223501995" sldId="323"/>
            <ac:spMk id="133" creationId="{131C5FD5-0D2B-4011-83EB-DC05E6111295}"/>
          </ac:spMkLst>
        </pc:spChg>
        <pc:spChg chg="mod">
          <ac:chgData name="Yaguchi, Yuki" userId="9e7febd7-de72-456b-b9f9-531c0b578ad5" providerId="ADAL" clId="{ED9953DB-3CD1-4146-A174-DC56D2B9F6FC}" dt="2020-12-05T21:40:34.838" v="366" actId="1076"/>
          <ac:spMkLst>
            <pc:docMk/>
            <pc:sldMk cId="3223501995" sldId="323"/>
            <ac:spMk id="134" creationId="{3F30F381-2338-4BAC-9C77-29EDB432394E}"/>
          </ac:spMkLst>
        </pc:spChg>
        <pc:grpChg chg="mod">
          <ac:chgData name="Yaguchi, Yuki" userId="9e7febd7-de72-456b-b9f9-531c0b578ad5" providerId="ADAL" clId="{ED9953DB-3CD1-4146-A174-DC56D2B9F6FC}" dt="2020-12-05T21:43:50.364" v="369" actId="1076"/>
          <ac:grpSpMkLst>
            <pc:docMk/>
            <pc:sldMk cId="3223501995" sldId="323"/>
            <ac:grpSpMk id="14" creationId="{0357D73C-11CB-4327-A9C9-C358D61FDBA7}"/>
          </ac:grpSpMkLst>
        </pc:grpChg>
        <pc:graphicFrameChg chg="mod modGraphic">
          <ac:chgData name="Yaguchi, Yuki" userId="9e7febd7-de72-456b-b9f9-531c0b578ad5" providerId="ADAL" clId="{ED9953DB-3CD1-4146-A174-DC56D2B9F6FC}" dt="2020-12-09T16:15:55.772" v="1156" actId="20577"/>
          <ac:graphicFrameMkLst>
            <pc:docMk/>
            <pc:sldMk cId="3223501995" sldId="323"/>
            <ac:graphicFrameMk id="2" creationId="{35688385-5A49-4516-8DE8-F60974D1435E}"/>
          </ac:graphicFrameMkLst>
        </pc:graphicFrameChg>
        <pc:picChg chg="add del mod">
          <ac:chgData name="Yaguchi, Yuki" userId="9e7febd7-de72-456b-b9f9-531c0b578ad5" providerId="ADAL" clId="{ED9953DB-3CD1-4146-A174-DC56D2B9F6FC}" dt="2020-12-05T21:37:16.484" v="292" actId="478"/>
          <ac:picMkLst>
            <pc:docMk/>
            <pc:sldMk cId="3223501995" sldId="323"/>
            <ac:picMk id="3" creationId="{8EED5F6E-7610-441E-9D11-4C9747EFFEBA}"/>
          </ac:picMkLst>
        </pc:picChg>
      </pc:sldChg>
      <pc:sldChg chg="addSp delSp modSp add">
        <pc:chgData name="Yaguchi, Yuki" userId="9e7febd7-de72-456b-b9f9-531c0b578ad5" providerId="ADAL" clId="{ED9953DB-3CD1-4146-A174-DC56D2B9F6FC}" dt="2020-12-09T16:16:43.921" v="1210" actId="20577"/>
        <pc:sldMkLst>
          <pc:docMk/>
          <pc:sldMk cId="1576018716" sldId="343"/>
        </pc:sldMkLst>
        <pc:spChg chg="mod">
          <ac:chgData name="Yaguchi, Yuki" userId="9e7febd7-de72-456b-b9f9-531c0b578ad5" providerId="ADAL" clId="{ED9953DB-3CD1-4146-A174-DC56D2B9F6FC}" dt="2020-12-09T15:32:26.478" v="756" actId="20577"/>
          <ac:spMkLst>
            <pc:docMk/>
            <pc:sldMk cId="1576018716" sldId="343"/>
            <ac:spMk id="8" creationId="{8877635F-823A-4ABD-B484-DE8588AA46A8}"/>
          </ac:spMkLst>
        </pc:spChg>
        <pc:spChg chg="mod">
          <ac:chgData name="Yaguchi, Yuki" userId="9e7febd7-de72-456b-b9f9-531c0b578ad5" providerId="ADAL" clId="{ED9953DB-3CD1-4146-A174-DC56D2B9F6FC}" dt="2020-12-09T16:16:43.921" v="1210" actId="20577"/>
          <ac:spMkLst>
            <pc:docMk/>
            <pc:sldMk cId="1576018716" sldId="343"/>
            <ac:spMk id="11" creationId="{BA88F4A1-D1EA-4BB3-BEF7-C19666C514F6}"/>
          </ac:spMkLst>
        </pc:spChg>
        <pc:spChg chg="add mod">
          <ac:chgData name="Yaguchi, Yuki" userId="9e7febd7-de72-456b-b9f9-531c0b578ad5" providerId="ADAL" clId="{ED9953DB-3CD1-4146-A174-DC56D2B9F6FC}" dt="2020-12-09T15:38:29.093" v="1037" actId="1076"/>
          <ac:spMkLst>
            <pc:docMk/>
            <pc:sldMk cId="1576018716" sldId="343"/>
            <ac:spMk id="36" creationId="{15766F18-5BDE-4ACC-A77E-8B12ADC2EA56}"/>
          </ac:spMkLst>
        </pc:spChg>
        <pc:spChg chg="add mod">
          <ac:chgData name="Yaguchi, Yuki" userId="9e7febd7-de72-456b-b9f9-531c0b578ad5" providerId="ADAL" clId="{ED9953DB-3CD1-4146-A174-DC56D2B9F6FC}" dt="2020-12-09T15:38:29.093" v="1037" actId="1076"/>
          <ac:spMkLst>
            <pc:docMk/>
            <pc:sldMk cId="1576018716" sldId="343"/>
            <ac:spMk id="37" creationId="{56EA873B-C4EB-498B-BD57-63E96BEB4EAF}"/>
          </ac:spMkLst>
        </pc:spChg>
        <pc:spChg chg="add mod">
          <ac:chgData name="Yaguchi, Yuki" userId="9e7febd7-de72-456b-b9f9-531c0b578ad5" providerId="ADAL" clId="{ED9953DB-3CD1-4146-A174-DC56D2B9F6FC}" dt="2020-12-09T15:38:29.093" v="1037" actId="1076"/>
          <ac:spMkLst>
            <pc:docMk/>
            <pc:sldMk cId="1576018716" sldId="343"/>
            <ac:spMk id="38" creationId="{61DDABCC-BA05-4B92-BD04-17BA24E41FEE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06" creationId="{6611B5F1-DACD-4BEB-B573-FB763F52EF43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4" creationId="{61BA0CB8-5A54-4818-A649-4629B4CFDF53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6" creationId="{027BB08F-16CC-41DF-9B93-489E76EDFFA2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8" creationId="{A34DCAC0-9654-419B-877A-B67B1D3A1911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19" creationId="{8F0E5D87-765A-42A8-BFE0-7BF2E9EEC118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2" creationId="{D5485B06-88BD-41A4-8C03-6079FD4CD269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3" creationId="{280497EC-025D-48B3-A4F9-A258B164BD79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5" creationId="{7E54B60E-AA79-4104-9067-E97B4DEC743E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6" creationId="{FC71C9D4-47B6-4DC4-9458-E69FB8C926C9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7" creationId="{0D816E86-FC4E-462B-929D-9187A4402007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8" creationId="{647A8098-A986-4272-ADCB-C2B1FF1B360A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29" creationId="{92B38C06-C7EF-4C23-962A-BA9723161368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0" creationId="{01C81C44-20D3-4136-8F78-F08D02F45DB2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1" creationId="{572F1B5D-62B1-481A-BD5B-885DCE6D4FFD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2" creationId="{BB30776B-845F-4ECE-B5BF-7245A36A0852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3" creationId="{131C5FD5-0D2B-4011-83EB-DC05E6111295}"/>
          </ac:spMkLst>
        </pc:spChg>
        <pc:spChg chg="del">
          <ac:chgData name="Yaguchi, Yuki" userId="9e7febd7-de72-456b-b9f9-531c0b578ad5" providerId="ADAL" clId="{ED9953DB-3CD1-4146-A174-DC56D2B9F6FC}" dt="2020-12-09T15:32:31.856" v="757" actId="478"/>
          <ac:spMkLst>
            <pc:docMk/>
            <pc:sldMk cId="1576018716" sldId="343"/>
            <ac:spMk id="134" creationId="{3F30F381-2338-4BAC-9C77-29EDB432394E}"/>
          </ac:spMkLst>
        </pc:spChg>
        <pc:graphicFrameChg chg="del">
          <ac:chgData name="Yaguchi, Yuki" userId="9e7febd7-de72-456b-b9f9-531c0b578ad5" providerId="ADAL" clId="{ED9953DB-3CD1-4146-A174-DC56D2B9F6FC}" dt="2020-12-09T15:32:31.856" v="757" actId="478"/>
          <ac:graphicFrameMkLst>
            <pc:docMk/>
            <pc:sldMk cId="1576018716" sldId="343"/>
            <ac:graphicFrameMk id="2" creationId="{35688385-5A49-4516-8DE8-F60974D1435E}"/>
          </ac:graphicFrameMkLst>
        </pc:graphicFrameChg>
        <pc:picChg chg="add mod modCrop">
          <ac:chgData name="Yaguchi, Yuki" userId="9e7febd7-de72-456b-b9f9-531c0b578ad5" providerId="ADAL" clId="{ED9953DB-3CD1-4146-A174-DC56D2B9F6FC}" dt="2020-12-09T15:38:29.093" v="1037" actId="1076"/>
          <ac:picMkLst>
            <pc:docMk/>
            <pc:sldMk cId="1576018716" sldId="343"/>
            <ac:picMk id="3" creationId="{7A42F1E5-92C7-497F-BE16-B2C2DFCF25DC}"/>
          </ac:picMkLst>
        </pc:picChg>
        <pc:picChg chg="add mod modCrop">
          <ac:chgData name="Yaguchi, Yuki" userId="9e7febd7-de72-456b-b9f9-531c0b578ad5" providerId="ADAL" clId="{ED9953DB-3CD1-4146-A174-DC56D2B9F6FC}" dt="2020-12-09T15:38:29.093" v="1037" actId="1076"/>
          <ac:picMkLst>
            <pc:docMk/>
            <pc:sldMk cId="1576018716" sldId="343"/>
            <ac:picMk id="7" creationId="{C852284C-4041-4D75-87A5-DD709F5890E3}"/>
          </ac:picMkLst>
        </pc:picChg>
        <pc:picChg chg="add mod modCrop">
          <ac:chgData name="Yaguchi, Yuki" userId="9e7febd7-de72-456b-b9f9-531c0b578ad5" providerId="ADAL" clId="{ED9953DB-3CD1-4146-A174-DC56D2B9F6FC}" dt="2020-12-09T15:38:29.093" v="1037" actId="1076"/>
          <ac:picMkLst>
            <pc:docMk/>
            <pc:sldMk cId="1576018716" sldId="343"/>
            <ac:picMk id="10" creationId="{6DA33176-FE6F-4AD0-83A0-598271A65A8E}"/>
          </ac:picMkLst>
        </pc:picChg>
      </pc:sldChg>
      <pc:sldMasterChg chg="modSldLayout">
        <pc:chgData name="Yaguchi, Yuki" userId="9e7febd7-de72-456b-b9f9-531c0b578ad5" providerId="ADAL" clId="{ED9953DB-3CD1-4146-A174-DC56D2B9F6FC}" dt="2020-12-09T15:30:01.917" v="742"/>
        <pc:sldMasterMkLst>
          <pc:docMk/>
          <pc:sldMasterMk cId="1943259863" sldId="2147483648"/>
        </pc:sldMasterMkLst>
        <pc:sldLayoutChg chg="addSp delSp modSp">
          <pc:chgData name="Yaguchi, Yuki" userId="9e7febd7-de72-456b-b9f9-531c0b578ad5" providerId="ADAL" clId="{ED9953DB-3CD1-4146-A174-DC56D2B9F6FC}" dt="2020-12-09T15:30:01.917" v="742"/>
          <pc:sldLayoutMkLst>
            <pc:docMk/>
            <pc:sldMasterMk cId="1943259863" sldId="2147483648"/>
            <pc:sldLayoutMk cId="3112444112" sldId="2147483650"/>
          </pc:sldLayoutMkLst>
          <pc:spChg chg="add mod modVis">
            <ac:chgData name="Yaguchi, Yuki" userId="9e7febd7-de72-456b-b9f9-531c0b578ad5" providerId="ADAL" clId="{ED9953DB-3CD1-4146-A174-DC56D2B9F6FC}" dt="2020-12-09T15:30:01.917" v="742"/>
            <ac:spMkLst>
              <pc:docMk/>
              <pc:sldMasterMk cId="1943259863" sldId="2147483648"/>
              <pc:sldLayoutMk cId="3112444112" sldId="2147483650"/>
              <ac:spMk id="8" creationId="{8F51A1E2-EBF1-4FB5-9693-2C0BD33EF7F8}"/>
            </ac:spMkLst>
          </pc:spChg>
          <pc:spChg chg="del">
            <ac:chgData name="Yaguchi, Yuki" userId="9e7febd7-de72-456b-b9f9-531c0b578ad5" providerId="ADAL" clId="{ED9953DB-3CD1-4146-A174-DC56D2B9F6FC}" dt="2020-12-09T15:30:01.864" v="735"/>
            <ac:spMkLst>
              <pc:docMk/>
              <pc:sldMasterMk cId="1943259863" sldId="2147483648"/>
              <pc:sldLayoutMk cId="3112444112" sldId="2147483650"/>
              <ac:spMk id="28" creationId="{7785542B-E9EC-4D54-82DB-D9B5FD5C0DD1}"/>
            </ac:spMkLst>
          </pc:spChg>
        </pc:sldLayoutChg>
      </pc:sldMasterChg>
    </pc:docChg>
  </pc:docChgLst>
  <pc:docChgLst>
    <pc:chgData name="rhashimoto@hks.harvard.edu" userId="S::urn:spo:guest#rhashimoto@hks.harvard.edu::" providerId="AD" clId="Web-{6408E2EE-60A3-0092-19C8-94D3667BD970}"/>
    <pc:docChg chg="addSld modSld sldOrd">
      <pc:chgData name="rhashimoto@hks.harvard.edu" userId="S::urn:spo:guest#rhashimoto@hks.harvard.edu::" providerId="AD" clId="Web-{6408E2EE-60A3-0092-19C8-94D3667BD970}" dt="2020-12-06T16:38:04.654" v="1391" actId="20577"/>
      <pc:docMkLst>
        <pc:docMk/>
      </pc:docMkLst>
      <pc:sldChg chg="addSp delSp modSp add ord replId">
        <pc:chgData name="rhashimoto@hks.harvard.edu" userId="S::urn:spo:guest#rhashimoto@hks.harvard.edu::" providerId="AD" clId="Web-{6408E2EE-60A3-0092-19C8-94D3667BD970}" dt="2020-12-06T16:38:04.654" v="1391" actId="20577"/>
        <pc:sldMkLst>
          <pc:docMk/>
          <pc:sldMk cId="3952555209" sldId="324"/>
        </pc:sldMkLst>
        <pc:spChg chg="add mod">
          <ac:chgData name="rhashimoto@hks.harvard.edu" userId="S::urn:spo:guest#rhashimoto@hks.harvard.edu::" providerId="AD" clId="Web-{6408E2EE-60A3-0092-19C8-94D3667BD970}" dt="2020-12-06T16:34:44.734" v="1328" actId="1076"/>
          <ac:spMkLst>
            <pc:docMk/>
            <pc:sldMk cId="3952555209" sldId="324"/>
            <ac:spMk id="3" creationId="{41ABC168-CCC1-4FA6-A406-DD1B99327449}"/>
          </ac:spMkLst>
        </pc:spChg>
        <pc:spChg chg="mod">
          <ac:chgData name="rhashimoto@hks.harvard.edu" userId="S::urn:spo:guest#rhashimoto@hks.harvard.edu::" providerId="AD" clId="Web-{6408E2EE-60A3-0092-19C8-94D3667BD970}" dt="2020-12-06T15:58:42.299" v="595" actId="20577"/>
          <ac:spMkLst>
            <pc:docMk/>
            <pc:sldMk cId="3952555209" sldId="324"/>
            <ac:spMk id="10" creationId="{E7FB5E50-C110-4645-8045-906AD0D3E313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20:59.257" v="1123"/>
          <ac:spMkLst>
            <pc:docMk/>
            <pc:sldMk cId="3952555209" sldId="324"/>
            <ac:spMk id="11" creationId="{895D4532-9C13-49FA-BC4B-1BB66F4BB2A8}"/>
          </ac:spMkLst>
        </pc:spChg>
        <pc:spChg chg="mod">
          <ac:chgData name="rhashimoto@hks.harvard.edu" userId="S::urn:spo:guest#rhashimoto@hks.harvard.edu::" providerId="AD" clId="Web-{6408E2EE-60A3-0092-19C8-94D3667BD970}" dt="2020-12-06T15:42:26.448" v="291" actId="20577"/>
          <ac:spMkLst>
            <pc:docMk/>
            <pc:sldMk cId="3952555209" sldId="324"/>
            <ac:spMk id="18" creationId="{637489A0-2E6F-4954-B9E7-43F7F30B60DF}"/>
          </ac:spMkLst>
        </pc:spChg>
        <pc:spChg chg="mod">
          <ac:chgData name="rhashimoto@hks.harvard.edu" userId="S::urn:spo:guest#rhashimoto@hks.harvard.edu::" providerId="AD" clId="Web-{6408E2EE-60A3-0092-19C8-94D3667BD970}" dt="2020-12-06T16:30:40.908" v="1242" actId="1076"/>
          <ac:spMkLst>
            <pc:docMk/>
            <pc:sldMk cId="3952555209" sldId="324"/>
            <ac:spMk id="36" creationId="{949C1BAC-E1AF-4842-A4C7-431168FB9C94}"/>
          </ac:spMkLst>
        </pc:spChg>
        <pc:spChg chg="mod">
          <ac:chgData name="rhashimoto@hks.harvard.edu" userId="S::urn:spo:guest#rhashimoto@hks.harvard.edu::" providerId="AD" clId="Web-{6408E2EE-60A3-0092-19C8-94D3667BD970}" dt="2020-12-06T15:42:29.870" v="292" actId="20577"/>
          <ac:spMkLst>
            <pc:docMk/>
            <pc:sldMk cId="3952555209" sldId="324"/>
            <ac:spMk id="40" creationId="{1471476D-57EA-4FAC-A540-8310A657EA39}"/>
          </ac:spMkLst>
        </pc:spChg>
        <pc:spChg chg="mod">
          <ac:chgData name="rhashimoto@hks.harvard.edu" userId="S::urn:spo:guest#rhashimoto@hks.harvard.edu::" providerId="AD" clId="Web-{6408E2EE-60A3-0092-19C8-94D3667BD970}" dt="2020-12-06T15:42:32.417" v="293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6408E2EE-60A3-0092-19C8-94D3667BD970}" dt="2020-12-06T15:42:35.526" v="294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6408E2EE-60A3-0092-19C8-94D3667BD970}" dt="2020-12-06T15:45:31.181" v="324" actId="20577"/>
          <ac:spMkLst>
            <pc:docMk/>
            <pc:sldMk cId="3952555209" sldId="324"/>
            <ac:spMk id="43" creationId="{1323DFB1-7FB8-4025-92E2-FF5C602C7479}"/>
          </ac:spMkLst>
        </pc:spChg>
        <pc:spChg chg="mod">
          <ac:chgData name="rhashimoto@hks.harvard.edu" userId="S::urn:spo:guest#rhashimoto@hks.harvard.edu::" providerId="AD" clId="Web-{6408E2EE-60A3-0092-19C8-94D3667BD970}" dt="2020-12-06T15:51:51.600" v="504" actId="14100"/>
          <ac:spMkLst>
            <pc:docMk/>
            <pc:sldMk cId="3952555209" sldId="324"/>
            <ac:spMk id="44" creationId="{24C009A9-940D-4226-96E3-F00415B1A58D}"/>
          </ac:spMkLst>
        </pc:spChg>
        <pc:spChg chg="mod">
          <ac:chgData name="rhashimoto@hks.harvard.edu" userId="S::urn:spo:guest#rhashimoto@hks.harvard.edu::" providerId="AD" clId="Web-{6408E2EE-60A3-0092-19C8-94D3667BD970}" dt="2020-12-06T15:52:37.021" v="510" actId="1076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6408E2EE-60A3-0092-19C8-94D3667BD970}" dt="2020-12-06T15:40:53.464" v="245" actId="1076"/>
          <ac:spMkLst>
            <pc:docMk/>
            <pc:sldMk cId="3952555209" sldId="324"/>
            <ac:spMk id="49" creationId="{B25102B5-56D3-4B1B-BED8-0E78CA75DBA9}"/>
          </ac:spMkLst>
        </pc:spChg>
        <pc:spChg chg="mod">
          <ac:chgData name="rhashimoto@hks.harvard.edu" userId="S::urn:spo:guest#rhashimoto@hks.harvard.edu::" providerId="AD" clId="Web-{6408E2EE-60A3-0092-19C8-94D3667BD970}" dt="2020-12-06T16:30:40.955" v="1243" actId="1076"/>
          <ac:spMkLst>
            <pc:docMk/>
            <pc:sldMk cId="3952555209" sldId="324"/>
            <ac:spMk id="55" creationId="{FF035B74-720A-4EBA-ABA2-41D034780A79}"/>
          </ac:spMkLst>
        </pc:spChg>
        <pc:spChg chg="mod">
          <ac:chgData name="rhashimoto@hks.harvard.edu" userId="S::urn:spo:guest#rhashimoto@hks.harvard.edu::" providerId="AD" clId="Web-{6408E2EE-60A3-0092-19C8-94D3667BD970}" dt="2020-12-06T15:50:23.694" v="469" actId="14100"/>
          <ac:spMkLst>
            <pc:docMk/>
            <pc:sldMk cId="3952555209" sldId="324"/>
            <ac:spMk id="56" creationId="{300BE465-19DF-4E6A-AE00-B648FDFC4F8E}"/>
          </ac:spMkLst>
        </pc:spChg>
        <pc:spChg chg="del">
          <ac:chgData name="rhashimoto@hks.harvard.edu" userId="S::urn:spo:guest#rhashimoto@hks.harvard.edu::" providerId="AD" clId="Web-{6408E2EE-60A3-0092-19C8-94D3667BD970}" dt="2020-12-06T15:51:04.022" v="475"/>
          <ac:spMkLst>
            <pc:docMk/>
            <pc:sldMk cId="3952555209" sldId="324"/>
            <ac:spMk id="59" creationId="{9259D7E4-1AD4-4581-A087-C4ED7A9B1708}"/>
          </ac:spMkLst>
        </pc:spChg>
        <pc:spChg chg="del">
          <ac:chgData name="rhashimoto@hks.harvard.edu" userId="S::urn:spo:guest#rhashimoto@hks.harvard.edu::" providerId="AD" clId="Web-{6408E2EE-60A3-0092-19C8-94D3667BD970}" dt="2020-12-06T15:51:06.397" v="477"/>
          <ac:spMkLst>
            <pc:docMk/>
            <pc:sldMk cId="3952555209" sldId="324"/>
            <ac:spMk id="60" creationId="{3BD99CDE-6CE6-451E-9589-5060FA553EF8}"/>
          </ac:spMkLst>
        </pc:spChg>
        <pc:spChg chg="del">
          <ac:chgData name="rhashimoto@hks.harvard.edu" userId="S::urn:spo:guest#rhashimoto@hks.harvard.edu::" providerId="AD" clId="Web-{6408E2EE-60A3-0092-19C8-94D3667BD970}" dt="2020-12-06T15:51:08.272" v="478"/>
          <ac:spMkLst>
            <pc:docMk/>
            <pc:sldMk cId="3952555209" sldId="324"/>
            <ac:spMk id="62" creationId="{32A4CE61-7143-4B28-A387-83097975B942}"/>
          </ac:spMkLst>
        </pc:spChg>
        <pc:spChg chg="del">
          <ac:chgData name="rhashimoto@hks.harvard.edu" userId="S::urn:spo:guest#rhashimoto@hks.harvard.edu::" providerId="AD" clId="Web-{6408E2EE-60A3-0092-19C8-94D3667BD970}" dt="2020-12-06T15:52:23.474" v="508"/>
          <ac:spMkLst>
            <pc:docMk/>
            <pc:sldMk cId="3952555209" sldId="324"/>
            <ac:spMk id="63" creationId="{3B87171A-2363-4AB8-9D32-85F1EEC1BE62}"/>
          </ac:spMkLst>
        </pc:spChg>
        <pc:spChg chg="mod">
          <ac:chgData name="rhashimoto@hks.harvard.edu" userId="S::urn:spo:guest#rhashimoto@hks.harvard.edu::" providerId="AD" clId="Web-{6408E2EE-60A3-0092-19C8-94D3667BD970}" dt="2020-12-06T16:00:36.970" v="630" actId="20577"/>
          <ac:spMkLst>
            <pc:docMk/>
            <pc:sldMk cId="3952555209" sldId="324"/>
            <ac:spMk id="64" creationId="{0D45A8C2-B519-4850-8179-FF9AA109F027}"/>
          </ac:spMkLst>
        </pc:spChg>
        <pc:spChg chg="mod">
          <ac:chgData name="rhashimoto@hks.harvard.edu" userId="S::urn:spo:guest#rhashimoto@hks.harvard.edu::" providerId="AD" clId="Web-{6408E2EE-60A3-0092-19C8-94D3667BD970}" dt="2020-12-06T15:46:36.368" v="340" actId="14100"/>
          <ac:spMkLst>
            <pc:docMk/>
            <pc:sldMk cId="3952555209" sldId="324"/>
            <ac:spMk id="66" creationId="{1CF9105A-41A7-47DF-B52B-D7C8B99A6D52}"/>
          </ac:spMkLst>
        </pc:spChg>
        <pc:spChg chg="mod">
          <ac:chgData name="rhashimoto@hks.harvard.edu" userId="S::urn:spo:guest#rhashimoto@hks.harvard.edu::" providerId="AD" clId="Web-{6408E2EE-60A3-0092-19C8-94D3667BD970}" dt="2020-12-06T16:00:46.361" v="640" actId="20577"/>
          <ac:spMkLst>
            <pc:docMk/>
            <pc:sldMk cId="3952555209" sldId="324"/>
            <ac:spMk id="67" creationId="{DE3305CF-DAC0-4236-AF91-61ADDC311532}"/>
          </ac:spMkLst>
        </pc:spChg>
        <pc:spChg chg="mod">
          <ac:chgData name="rhashimoto@hks.harvard.edu" userId="S::urn:spo:guest#rhashimoto@hks.harvard.edu::" providerId="AD" clId="Web-{6408E2EE-60A3-0092-19C8-94D3667BD970}" dt="2020-12-06T16:00:53.157" v="644" actId="20577"/>
          <ac:spMkLst>
            <pc:docMk/>
            <pc:sldMk cId="3952555209" sldId="324"/>
            <ac:spMk id="68" creationId="{9323CE5D-3953-489E-AD68-1991879DE4C7}"/>
          </ac:spMkLst>
        </pc:spChg>
        <pc:spChg chg="mod">
          <ac:chgData name="rhashimoto@hks.harvard.edu" userId="S::urn:spo:guest#rhashimoto@hks.harvard.edu::" providerId="AD" clId="Web-{6408E2EE-60A3-0092-19C8-94D3667BD970}" dt="2020-12-06T16:01:02.470" v="649" actId="20577"/>
          <ac:spMkLst>
            <pc:docMk/>
            <pc:sldMk cId="3952555209" sldId="324"/>
            <ac:spMk id="69" creationId="{E839C2BD-DA1D-45AC-8504-FDF36555243E}"/>
          </ac:spMkLst>
        </pc:spChg>
        <pc:spChg chg="mod">
          <ac:chgData name="rhashimoto@hks.harvard.edu" userId="S::urn:spo:guest#rhashimoto@hks.harvard.edu::" providerId="AD" clId="Web-{6408E2EE-60A3-0092-19C8-94D3667BD970}" dt="2020-12-06T16:01:16.220" v="665" actId="20577"/>
          <ac:spMkLst>
            <pc:docMk/>
            <pc:sldMk cId="3952555209" sldId="324"/>
            <ac:spMk id="70" creationId="{8A784972-BABD-4BD1-9483-83F0885E0F37}"/>
          </ac:spMkLst>
        </pc:spChg>
        <pc:spChg chg="del">
          <ac:chgData name="rhashimoto@hks.harvard.edu" userId="S::urn:spo:guest#rhashimoto@hks.harvard.edu::" providerId="AD" clId="Web-{6408E2EE-60A3-0092-19C8-94D3667BD970}" dt="2020-12-06T16:01:39.188" v="669"/>
          <ac:spMkLst>
            <pc:docMk/>
            <pc:sldMk cId="3952555209" sldId="324"/>
            <ac:spMk id="74" creationId="{47E6BD76-35F9-4CA1-BD24-34D98CB191FA}"/>
          </ac:spMkLst>
        </pc:spChg>
        <pc:spChg chg="mod">
          <ac:chgData name="rhashimoto@hks.harvard.edu" userId="S::urn:spo:guest#rhashimoto@hks.harvard.edu::" providerId="AD" clId="Web-{6408E2EE-60A3-0092-19C8-94D3667BD970}" dt="2020-12-06T16:30:41.002" v="1244" actId="1076"/>
          <ac:spMkLst>
            <pc:docMk/>
            <pc:sldMk cId="3952555209" sldId="324"/>
            <ac:spMk id="88" creationId="{D7216B4F-B5B0-44BF-9D82-BBF64FF63F0B}"/>
          </ac:spMkLst>
        </pc:spChg>
        <pc:spChg chg="mod">
          <ac:chgData name="rhashimoto@hks.harvard.edu" userId="S::urn:spo:guest#rhashimoto@hks.harvard.edu::" providerId="AD" clId="Web-{6408E2EE-60A3-0092-19C8-94D3667BD970}" dt="2020-12-06T16:30:58.455" v="1246" actId="20577"/>
          <ac:spMkLst>
            <pc:docMk/>
            <pc:sldMk cId="3952555209" sldId="324"/>
            <ac:spMk id="90" creationId="{DAC0203C-7B4D-4B9C-A042-B91F9D4D5DC3}"/>
          </ac:spMkLst>
        </pc:spChg>
        <pc:spChg chg="add mod">
          <ac:chgData name="rhashimoto@hks.harvard.edu" userId="S::urn:spo:guest#rhashimoto@hks.harvard.edu::" providerId="AD" clId="Web-{6408E2EE-60A3-0092-19C8-94D3667BD970}" dt="2020-12-06T15:52:30.115" v="509" actId="1076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6408E2EE-60A3-0092-19C8-94D3667BD970}" dt="2020-12-06T16:01:50.954" v="675" actId="20577"/>
          <ac:spMkLst>
            <pc:docMk/>
            <pc:sldMk cId="3952555209" sldId="324"/>
            <ac:spMk id="92" creationId="{A30F00B6-2047-46B5-8C31-DA71383E4AFB}"/>
          </ac:spMkLst>
        </pc:spChg>
        <pc:spChg chg="mod">
          <ac:chgData name="rhashimoto@hks.harvard.edu" userId="S::urn:spo:guest#rhashimoto@hks.harvard.edu::" providerId="AD" clId="Web-{6408E2EE-60A3-0092-19C8-94D3667BD970}" dt="2020-12-06T16:30:03.689" v="1235" actId="14100"/>
          <ac:spMkLst>
            <pc:docMk/>
            <pc:sldMk cId="3952555209" sldId="324"/>
            <ac:spMk id="94" creationId="{BC050F31-83BE-4497-BCC2-141ACC39C51C}"/>
          </ac:spMkLst>
        </pc:spChg>
        <pc:spChg chg="mod">
          <ac:chgData name="rhashimoto@hks.harvard.edu" userId="S::urn:spo:guest#rhashimoto@hks.harvard.edu::" providerId="AD" clId="Web-{6408E2EE-60A3-0092-19C8-94D3667BD970}" dt="2020-12-06T16:33:44.156" v="1315" actId="1076"/>
          <ac:spMkLst>
            <pc:docMk/>
            <pc:sldMk cId="3952555209" sldId="324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6408E2EE-60A3-0092-19C8-94D3667BD970}" dt="2020-12-06T16:10:54.215" v="839" actId="1076"/>
          <ac:spMkLst>
            <pc:docMk/>
            <pc:sldMk cId="3952555209" sldId="324"/>
            <ac:spMk id="97" creationId="{1D8E2CBB-4147-4C36-862D-077CE0D51F46}"/>
          </ac:spMkLst>
        </pc:spChg>
        <pc:spChg chg="mod">
          <ac:chgData name="rhashimoto@hks.harvard.edu" userId="S::urn:spo:guest#rhashimoto@hks.harvard.edu::" providerId="AD" clId="Web-{6408E2EE-60A3-0092-19C8-94D3667BD970}" dt="2020-12-06T16:10:54.293" v="840" actId="1076"/>
          <ac:spMkLst>
            <pc:docMk/>
            <pc:sldMk cId="3952555209" sldId="324"/>
            <ac:spMk id="98" creationId="{448B4E81-7592-4A38-B99F-B8F004AE6DE1}"/>
          </ac:spMkLst>
        </pc:spChg>
        <pc:spChg chg="mod">
          <ac:chgData name="rhashimoto@hks.harvard.edu" userId="S::urn:spo:guest#rhashimoto@hks.harvard.edu::" providerId="AD" clId="Web-{6408E2EE-60A3-0092-19C8-94D3667BD970}" dt="2020-12-06T16:10:54.387" v="841" actId="1076"/>
          <ac:spMkLst>
            <pc:docMk/>
            <pc:sldMk cId="3952555209" sldId="324"/>
            <ac:spMk id="99" creationId="{D4C5153D-5841-4716-9C21-D5EAC7D0B3FF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10:54.465" v="842" actId="1076"/>
          <ac:spMkLst>
            <pc:docMk/>
            <pc:sldMk cId="3952555209" sldId="324"/>
            <ac:spMk id="100" creationId="{9B0E0A31-F4AB-473D-8FF3-78FB42E0EB65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10:54.543" v="843" actId="1076"/>
          <ac:spMkLst>
            <pc:docMk/>
            <pc:sldMk cId="3952555209" sldId="324"/>
            <ac:spMk id="101" creationId="{5C482F3E-E988-48E4-8160-A4115915DFE0}"/>
          </ac:spMkLst>
        </pc:spChg>
        <pc:spChg chg="mod topLvl">
          <ac:chgData name="rhashimoto@hks.harvard.edu" userId="S::urn:spo:guest#rhashimoto@hks.harvard.edu::" providerId="AD" clId="Web-{6408E2EE-60A3-0092-19C8-94D3667BD970}" dt="2020-12-06T16:17:56.102" v="1080" actId="1076"/>
          <ac:spMkLst>
            <pc:docMk/>
            <pc:sldMk cId="3952555209" sldId="324"/>
            <ac:spMk id="102" creationId="{C0DF28B2-1E01-4933-9E25-6EC011D05586}"/>
          </ac:spMkLst>
        </pc:spChg>
        <pc:spChg chg="mod topLvl">
          <ac:chgData name="rhashimoto@hks.harvard.edu" userId="S::urn:spo:guest#rhashimoto@hks.harvard.edu::" providerId="AD" clId="Web-{6408E2EE-60A3-0092-19C8-94D3667BD970}" dt="2020-12-06T16:34:42.187" v="1327" actId="1076"/>
          <ac:spMkLst>
            <pc:docMk/>
            <pc:sldMk cId="3952555209" sldId="324"/>
            <ac:spMk id="103" creationId="{68A33FCD-CA7C-4E84-B602-F3BC81600AA6}"/>
          </ac:spMkLst>
        </pc:spChg>
        <pc:spChg chg="mod topLvl">
          <ac:chgData name="rhashimoto@hks.harvard.edu" userId="S::urn:spo:guest#rhashimoto@hks.harvard.edu::" providerId="AD" clId="Web-{6408E2EE-60A3-0092-19C8-94D3667BD970}" dt="2020-12-06T16:34:41.390" v="1326" actId="1076"/>
          <ac:spMkLst>
            <pc:docMk/>
            <pc:sldMk cId="3952555209" sldId="324"/>
            <ac:spMk id="104" creationId="{6BD23100-EE79-4682-A6EC-FDE0C8CC838D}"/>
          </ac:spMkLst>
        </pc:spChg>
        <pc:spChg chg="mod">
          <ac:chgData name="rhashimoto@hks.harvard.edu" userId="S::urn:spo:guest#rhashimoto@hks.harvard.edu::" providerId="AD" clId="Web-{6408E2EE-60A3-0092-19C8-94D3667BD970}" dt="2020-12-06T16:34:57.468" v="1330" actId="1076"/>
          <ac:spMkLst>
            <pc:docMk/>
            <pc:sldMk cId="3952555209" sldId="324"/>
            <ac:spMk id="105" creationId="{C77AB881-33B0-45B8-A110-6FFC2586468F}"/>
          </ac:spMkLst>
        </pc:spChg>
        <pc:spChg chg="del">
          <ac:chgData name="rhashimoto@hks.harvard.edu" userId="S::urn:spo:guest#rhashimoto@hks.harvard.edu::" providerId="AD" clId="Web-{6408E2EE-60A3-0092-19C8-94D3667BD970}" dt="2020-12-06T16:01:40.360" v="670"/>
          <ac:spMkLst>
            <pc:docMk/>
            <pc:sldMk cId="3952555209" sldId="324"/>
            <ac:spMk id="107" creationId="{B7A0D04F-E6E7-4402-B3F5-A9DB1F65869B}"/>
          </ac:spMkLst>
        </pc:spChg>
        <pc:spChg chg="del">
          <ac:chgData name="rhashimoto@hks.harvard.edu" userId="S::urn:spo:guest#rhashimoto@hks.harvard.edu::" providerId="AD" clId="Web-{6408E2EE-60A3-0092-19C8-94D3667BD970}" dt="2020-12-06T16:01:42.282" v="671"/>
          <ac:spMkLst>
            <pc:docMk/>
            <pc:sldMk cId="3952555209" sldId="324"/>
            <ac:spMk id="108" creationId="{E20E70F4-F7A2-4A3F-A36F-560767CBD4CD}"/>
          </ac:spMkLst>
        </pc:spChg>
        <pc:spChg chg="del">
          <ac:chgData name="rhashimoto@hks.harvard.edu" userId="S::urn:spo:guest#rhashimoto@hks.harvard.edu::" providerId="AD" clId="Web-{6408E2EE-60A3-0092-19C8-94D3667BD970}" dt="2020-12-06T16:01:43.673" v="672"/>
          <ac:spMkLst>
            <pc:docMk/>
            <pc:sldMk cId="3952555209" sldId="324"/>
            <ac:spMk id="109" creationId="{F5FF9D95-62F7-4154-B754-0B4918321F83}"/>
          </ac:spMkLst>
        </pc:spChg>
        <pc:spChg chg="del">
          <ac:chgData name="rhashimoto@hks.harvard.edu" userId="S::urn:spo:guest#rhashimoto@hks.harvard.edu::" providerId="AD" clId="Web-{6408E2EE-60A3-0092-19C8-94D3667BD970}" dt="2020-12-06T16:01:44.579" v="673"/>
          <ac:spMkLst>
            <pc:docMk/>
            <pc:sldMk cId="3952555209" sldId="324"/>
            <ac:spMk id="110" creationId="{A35A3E30-91E2-461E-A4E0-2ABA79AAC9A5}"/>
          </ac:spMkLst>
        </pc:spChg>
        <pc:spChg chg="del mod">
          <ac:chgData name="rhashimoto@hks.harvard.edu" userId="S::urn:spo:guest#rhashimoto@hks.harvard.edu::" providerId="AD" clId="Web-{6408E2EE-60A3-0092-19C8-94D3667BD970}" dt="2020-12-06T16:17:13.227" v="1064"/>
          <ac:spMkLst>
            <pc:docMk/>
            <pc:sldMk cId="3952555209" sldId="324"/>
            <ac:spMk id="111" creationId="{2A2F134C-15D6-4B8F-BA40-715103E945FB}"/>
          </ac:spMkLst>
        </pc:spChg>
        <pc:spChg chg="del">
          <ac:chgData name="rhashimoto@hks.harvard.edu" userId="S::urn:spo:guest#rhashimoto@hks.harvard.edu::" providerId="AD" clId="Web-{6408E2EE-60A3-0092-19C8-94D3667BD970}" dt="2020-12-06T16:17:14.149" v="1065"/>
          <ac:spMkLst>
            <pc:docMk/>
            <pc:sldMk cId="3952555209" sldId="324"/>
            <ac:spMk id="112" creationId="{5547C13F-B6AE-4737-89B5-83D55FE88638}"/>
          </ac:spMkLst>
        </pc:spChg>
        <pc:spChg chg="del">
          <ac:chgData name="rhashimoto@hks.harvard.edu" userId="S::urn:spo:guest#rhashimoto@hks.harvard.edu::" providerId="AD" clId="Web-{6408E2EE-60A3-0092-19C8-94D3667BD970}" dt="2020-12-06T16:17:15.477" v="1066"/>
          <ac:spMkLst>
            <pc:docMk/>
            <pc:sldMk cId="3952555209" sldId="324"/>
            <ac:spMk id="113" creationId="{47258DD5-9385-4AF8-9C17-F5E4373390F9}"/>
          </ac:spMkLst>
        </pc:spChg>
        <pc:spChg chg="del">
          <ac:chgData name="rhashimoto@hks.harvard.edu" userId="S::urn:spo:guest#rhashimoto@hks.harvard.edu::" providerId="AD" clId="Web-{6408E2EE-60A3-0092-19C8-94D3667BD970}" dt="2020-12-06T16:17:02.368" v="1059"/>
          <ac:spMkLst>
            <pc:docMk/>
            <pc:sldMk cId="3952555209" sldId="324"/>
            <ac:spMk id="115" creationId="{2F160279-0717-4B08-B99D-72D7147AE38D}"/>
          </ac:spMkLst>
        </pc:spChg>
        <pc:spChg chg="mod">
          <ac:chgData name="rhashimoto@hks.harvard.edu" userId="S::urn:spo:guest#rhashimoto@hks.harvard.edu::" providerId="AD" clId="Web-{6408E2EE-60A3-0092-19C8-94D3667BD970}" dt="2020-12-06T15:40:17.371" v="241"/>
          <ac:spMkLst>
            <pc:docMk/>
            <pc:sldMk cId="3952555209" sldId="324"/>
            <ac:spMk id="118" creationId="{D8F9319A-9FFE-433B-81BC-BB0EE12036FE}"/>
          </ac:spMkLst>
        </pc:spChg>
        <pc:spChg chg="mod">
          <ac:chgData name="rhashimoto@hks.harvard.edu" userId="S::urn:spo:guest#rhashimoto@hks.harvard.edu::" providerId="AD" clId="Web-{6408E2EE-60A3-0092-19C8-94D3667BD970}" dt="2020-12-06T15:40:22.558" v="242"/>
          <ac:spMkLst>
            <pc:docMk/>
            <pc:sldMk cId="3952555209" sldId="324"/>
            <ac:spMk id="119" creationId="{5A05931F-DE07-4A16-8A18-E77FBE212BB8}"/>
          </ac:spMkLst>
        </pc:spChg>
        <pc:spChg chg="add del">
          <ac:chgData name="rhashimoto@hks.harvard.edu" userId="S::urn:spo:guest#rhashimoto@hks.harvard.edu::" providerId="AD" clId="Web-{6408E2EE-60A3-0092-19C8-94D3667BD970}" dt="2020-12-06T15:51:15.428" v="480"/>
          <ac:spMkLst>
            <pc:docMk/>
            <pc:sldMk cId="3952555209" sldId="324"/>
            <ac:spMk id="122" creationId="{E811E88B-5CB3-4DA7-B26D-FF60B4C07969}"/>
          </ac:spMkLst>
        </pc:spChg>
        <pc:spChg chg="mod">
          <ac:chgData name="rhashimoto@hks.harvard.edu" userId="S::urn:spo:guest#rhashimoto@hks.harvard.edu::" providerId="AD" clId="Web-{6408E2EE-60A3-0092-19C8-94D3667BD970}" dt="2020-12-06T16:38:04.654" v="1391" actId="20577"/>
          <ac:spMkLst>
            <pc:docMk/>
            <pc:sldMk cId="3952555209" sldId="324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6408E2EE-60A3-0092-19C8-94D3667BD970}" dt="2020-12-06T15:52:15.662" v="507" actId="1076"/>
          <ac:spMkLst>
            <pc:docMk/>
            <pc:sldMk cId="3952555209" sldId="324"/>
            <ac:spMk id="126" creationId="{0B93982C-5012-4BC2-A517-4D650EBE7878}"/>
          </ac:spMkLst>
        </pc:spChg>
        <pc:spChg chg="mod">
          <ac:chgData name="rhashimoto@hks.harvard.edu" userId="S::urn:spo:guest#rhashimoto@hks.harvard.edu::" providerId="AD" clId="Web-{6408E2EE-60A3-0092-19C8-94D3667BD970}" dt="2020-12-06T16:10:37.949" v="829" actId="1076"/>
          <ac:spMkLst>
            <pc:docMk/>
            <pc:sldMk cId="3952555209" sldId="324"/>
            <ac:spMk id="128" creationId="{5C0811B4-CF15-4EA5-8BE7-3E04536928AC}"/>
          </ac:spMkLst>
        </pc:spChg>
        <pc:spChg chg="mod">
          <ac:chgData name="rhashimoto@hks.harvard.edu" userId="S::urn:spo:guest#rhashimoto@hks.harvard.edu::" providerId="AD" clId="Web-{6408E2EE-60A3-0092-19C8-94D3667BD970}" dt="2020-12-06T16:10:38.027" v="830" actId="1076"/>
          <ac:spMkLst>
            <pc:docMk/>
            <pc:sldMk cId="3952555209" sldId="324"/>
            <ac:spMk id="129" creationId="{25401BE4-12C1-43F0-BDC2-EDA7CFF19EE6}"/>
          </ac:spMkLst>
        </pc:spChg>
        <pc:spChg chg="mod">
          <ac:chgData name="rhashimoto@hks.harvard.edu" userId="S::urn:spo:guest#rhashimoto@hks.harvard.edu::" providerId="AD" clId="Web-{6408E2EE-60A3-0092-19C8-94D3667BD970}" dt="2020-12-06T16:10:38.106" v="831" actId="1076"/>
          <ac:spMkLst>
            <pc:docMk/>
            <pc:sldMk cId="3952555209" sldId="324"/>
            <ac:spMk id="130" creationId="{55C971F1-C180-4F1A-A86C-B7E73756EA4E}"/>
          </ac:spMkLst>
        </pc:spChg>
        <pc:spChg chg="mod">
          <ac:chgData name="rhashimoto@hks.harvard.edu" userId="S::urn:spo:guest#rhashimoto@hks.harvard.edu::" providerId="AD" clId="Web-{6408E2EE-60A3-0092-19C8-94D3667BD970}" dt="2020-12-06T16:10:38.184" v="832" actId="1076"/>
          <ac:spMkLst>
            <pc:docMk/>
            <pc:sldMk cId="3952555209" sldId="324"/>
            <ac:spMk id="131" creationId="{8EEF460E-8D94-4093-A055-4B89FAF81A20}"/>
          </ac:spMkLst>
        </pc:spChg>
        <pc:spChg chg="mod">
          <ac:chgData name="rhashimoto@hks.harvard.edu" userId="S::urn:spo:guest#rhashimoto@hks.harvard.edu::" providerId="AD" clId="Web-{6408E2EE-60A3-0092-19C8-94D3667BD970}" dt="2020-12-06T16:10:38.277" v="833" actId="1076"/>
          <ac:spMkLst>
            <pc:docMk/>
            <pc:sldMk cId="3952555209" sldId="324"/>
            <ac:spMk id="132" creationId="{F4FB575D-24D7-42E3-9029-7CE267417170}"/>
          </ac:spMkLst>
        </pc:spChg>
        <pc:spChg chg="mod">
          <ac:chgData name="rhashimoto@hks.harvard.edu" userId="S::urn:spo:guest#rhashimoto@hks.harvard.edu::" providerId="AD" clId="Web-{6408E2EE-60A3-0092-19C8-94D3667BD970}" dt="2020-12-06T15:53:51.427" v="526" actId="14100"/>
          <ac:spMkLst>
            <pc:docMk/>
            <pc:sldMk cId="3952555209" sldId="324"/>
            <ac:spMk id="134" creationId="{C75C70B4-FB0C-4ED7-B58B-6188C6727350}"/>
          </ac:spMkLst>
        </pc:spChg>
        <pc:spChg chg="mod">
          <ac:chgData name="rhashimoto@hks.harvard.edu" userId="S::urn:spo:guest#rhashimoto@hks.harvard.edu::" providerId="AD" clId="Web-{6408E2EE-60A3-0092-19C8-94D3667BD970}" dt="2020-12-06T15:53:55.145" v="527" actId="1076"/>
          <ac:spMkLst>
            <pc:docMk/>
            <pc:sldMk cId="3952555209" sldId="324"/>
            <ac:spMk id="135" creationId="{EB50CA13-F7D3-4553-ADC4-0A45E508BF7D}"/>
          </ac:spMkLst>
        </pc:spChg>
        <pc:spChg chg="del">
          <ac:chgData name="rhashimoto@hks.harvard.edu" userId="S::urn:spo:guest#rhashimoto@hks.harvard.edu::" providerId="AD" clId="Web-{6408E2EE-60A3-0092-19C8-94D3667BD970}" dt="2020-12-06T15:53:38.989" v="523"/>
          <ac:spMkLst>
            <pc:docMk/>
            <pc:sldMk cId="3952555209" sldId="324"/>
            <ac:spMk id="140" creationId="{E4C3D3CB-1408-4BCE-AA6E-4FA115BC05D8}"/>
          </ac:spMkLst>
        </pc:spChg>
        <pc:spChg chg="del mod">
          <ac:chgData name="rhashimoto@hks.harvard.edu" userId="S::urn:spo:guest#rhashimoto@hks.harvard.edu::" providerId="AD" clId="Web-{6408E2EE-60A3-0092-19C8-94D3667BD970}" dt="2020-12-06T15:53:41.989" v="525"/>
          <ac:spMkLst>
            <pc:docMk/>
            <pc:sldMk cId="3952555209" sldId="324"/>
            <ac:spMk id="141" creationId="{36E80C7B-9B22-4670-A14E-5BA60FD5812F}"/>
          </ac:spMkLst>
        </pc:spChg>
        <pc:spChg chg="mod">
          <ac:chgData name="rhashimoto@hks.harvard.edu" userId="S::urn:spo:guest#rhashimoto@hks.harvard.edu::" providerId="AD" clId="Web-{6408E2EE-60A3-0092-19C8-94D3667BD970}" dt="2020-12-06T15:54:46.629" v="563" actId="14100"/>
          <ac:spMkLst>
            <pc:docMk/>
            <pc:sldMk cId="3952555209" sldId="324"/>
            <ac:spMk id="143" creationId="{586AC623-5014-4B71-9F63-BAA1D2D72820}"/>
          </ac:spMkLst>
        </pc:spChg>
        <pc:spChg chg="mod">
          <ac:chgData name="rhashimoto@hks.harvard.edu" userId="S::urn:spo:guest#rhashimoto@hks.harvard.edu::" providerId="AD" clId="Web-{6408E2EE-60A3-0092-19C8-94D3667BD970}" dt="2020-12-06T15:59:04.346" v="599" actId="1076"/>
          <ac:spMkLst>
            <pc:docMk/>
            <pc:sldMk cId="3952555209" sldId="324"/>
            <ac:spMk id="144" creationId="{5DB47FE4-B406-4155-AA79-5766E46184AC}"/>
          </ac:spMkLst>
        </pc:spChg>
        <pc:spChg chg="del">
          <ac:chgData name="rhashimoto@hks.harvard.edu" userId="S::urn:spo:guest#rhashimoto@hks.harvard.edu::" providerId="AD" clId="Web-{6408E2EE-60A3-0092-19C8-94D3667BD970}" dt="2020-12-06T15:54:32.942" v="562"/>
          <ac:spMkLst>
            <pc:docMk/>
            <pc:sldMk cId="3952555209" sldId="324"/>
            <ac:spMk id="146" creationId="{29E2C8DB-668E-40B1-9E1C-7936370B3B83}"/>
          </ac:spMkLst>
        </pc:spChg>
        <pc:spChg chg="del">
          <ac:chgData name="rhashimoto@hks.harvard.edu" userId="S::urn:spo:guest#rhashimoto@hks.harvard.edu::" providerId="AD" clId="Web-{6408E2EE-60A3-0092-19C8-94D3667BD970}" dt="2020-12-06T15:54:30.444" v="561"/>
          <ac:spMkLst>
            <pc:docMk/>
            <pc:sldMk cId="3952555209" sldId="324"/>
            <ac:spMk id="147" creationId="{5336A243-4BAF-4B8F-B49E-AB9CC7FACCF1}"/>
          </ac:spMkLst>
        </pc:spChg>
        <pc:spChg chg="del">
          <ac:chgData name="rhashimoto@hks.harvard.edu" userId="S::urn:spo:guest#rhashimoto@hks.harvard.edu::" providerId="AD" clId="Web-{6408E2EE-60A3-0092-19C8-94D3667BD970}" dt="2020-12-06T15:54:28.864" v="560"/>
          <ac:spMkLst>
            <pc:docMk/>
            <pc:sldMk cId="3952555209" sldId="324"/>
            <ac:spMk id="148" creationId="{57D3FA43-F358-4C47-B697-35963B2B89D3}"/>
          </ac:spMkLst>
        </pc:spChg>
        <pc:spChg chg="mod">
          <ac:chgData name="rhashimoto@hks.harvard.edu" userId="S::urn:spo:guest#rhashimoto@hks.harvard.edu::" providerId="AD" clId="Web-{6408E2EE-60A3-0092-19C8-94D3667BD970}" dt="2020-12-06T16:10:20.324" v="827" actId="1076"/>
          <ac:spMkLst>
            <pc:docMk/>
            <pc:sldMk cId="3952555209" sldId="324"/>
            <ac:spMk id="149" creationId="{4B667302-5A92-4959-A3EC-7FFEA0C70F54}"/>
          </ac:spMkLst>
        </pc:spChg>
        <pc:spChg chg="mod">
          <ac:chgData name="rhashimoto@hks.harvard.edu" userId="S::urn:spo:guest#rhashimoto@hks.harvard.edu::" providerId="AD" clId="Web-{6408E2EE-60A3-0092-19C8-94D3667BD970}" dt="2020-12-06T16:10:20.387" v="828" actId="1076"/>
          <ac:spMkLst>
            <pc:docMk/>
            <pc:sldMk cId="3952555209" sldId="324"/>
            <ac:spMk id="150" creationId="{5FCD1193-76D2-4493-8C74-4590AB7E8875}"/>
          </ac:spMkLst>
        </pc:spChg>
        <pc:spChg chg="add del mod">
          <ac:chgData name="rhashimoto@hks.harvard.edu" userId="S::urn:spo:guest#rhashimoto@hks.harvard.edu::" providerId="AD" clId="Web-{6408E2EE-60A3-0092-19C8-94D3667BD970}" dt="2020-12-06T16:21:16.694" v="1125"/>
          <ac:spMkLst>
            <pc:docMk/>
            <pc:sldMk cId="3952555209" sldId="324"/>
            <ac:spMk id="151" creationId="{39822B62-F2EF-4AAF-B996-75B80FA9878F}"/>
          </ac:spMkLst>
        </pc:spChg>
        <pc:spChg chg="add mod">
          <ac:chgData name="rhashimoto@hks.harvard.edu" userId="S::urn:spo:guest#rhashimoto@hks.harvard.edu::" providerId="AD" clId="Web-{6408E2EE-60A3-0092-19C8-94D3667BD970}" dt="2020-12-06T16:33:44.203" v="1316" actId="1076"/>
          <ac:spMkLst>
            <pc:docMk/>
            <pc:sldMk cId="3952555209" sldId="324"/>
            <ac:spMk id="152" creationId="{92FF87A8-75F5-41AD-ADAD-A4A69AC5D5F0}"/>
          </ac:spMkLst>
        </pc:spChg>
        <pc:spChg chg="add mod">
          <ac:chgData name="rhashimoto@hks.harvard.edu" userId="S::urn:spo:guest#rhashimoto@hks.harvard.edu::" providerId="AD" clId="Web-{6408E2EE-60A3-0092-19C8-94D3667BD970}" dt="2020-12-06T16:33:44.328" v="1318" actId="1076"/>
          <ac:spMkLst>
            <pc:docMk/>
            <pc:sldMk cId="3952555209" sldId="324"/>
            <ac:spMk id="160" creationId="{1699C91E-EC26-4E16-B11F-FE990D3B3161}"/>
          </ac:spMkLst>
        </pc:spChg>
        <pc:spChg chg="add mod">
          <ac:chgData name="rhashimoto@hks.harvard.edu" userId="S::urn:spo:guest#rhashimoto@hks.harvard.edu::" providerId="AD" clId="Web-{6408E2EE-60A3-0092-19C8-94D3667BD970}" dt="2020-12-06T16:34:48.343" v="1329" actId="1076"/>
          <ac:spMkLst>
            <pc:docMk/>
            <pc:sldMk cId="3952555209" sldId="324"/>
            <ac:spMk id="162" creationId="{2E325347-D028-480C-A7A2-26F593B410D4}"/>
          </ac:spMkLst>
        </pc:spChg>
        <pc:grpChg chg="add mod">
          <ac:chgData name="rhashimoto@hks.harvard.edu" userId="S::urn:spo:guest#rhashimoto@hks.harvard.edu::" providerId="AD" clId="Web-{6408E2EE-60A3-0092-19C8-94D3667BD970}" dt="2020-12-06T15:56:53.894" v="579" actId="1076"/>
          <ac:grpSpMkLst>
            <pc:docMk/>
            <pc:sldMk cId="3952555209" sldId="324"/>
            <ac:grpSpMk id="2" creationId="{AF6B2874-3319-43CB-A2A0-275260CA16BA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6:17:52.805" v="1079" actId="1076"/>
          <ac:grpSpMkLst>
            <pc:docMk/>
            <pc:sldMk cId="3952555209" sldId="324"/>
            <ac:grpSpMk id="9" creationId="{4627B9D2-BD7E-4B84-9608-9B182A6781D6}"/>
          </ac:grpSpMkLst>
        </pc:grpChg>
        <pc:grpChg chg="mod">
          <ac:chgData name="rhashimoto@hks.harvard.edu" userId="S::urn:spo:guest#rhashimoto@hks.harvard.edu::" providerId="AD" clId="Web-{6408E2EE-60A3-0092-19C8-94D3667BD970}" dt="2020-12-06T15:53:00.208" v="512" actId="1076"/>
          <ac:grpSpMkLst>
            <pc:docMk/>
            <pc:sldMk cId="3952555209" sldId="324"/>
            <ac:grpSpMk id="20" creationId="{0F920116-1AD9-4FF1-AABA-0B9E70921ADB}"/>
          </ac:grpSpMkLst>
        </pc:grpChg>
        <pc:grpChg chg="del mod">
          <ac:chgData name="rhashimoto@hks.harvard.edu" userId="S::urn:spo:guest#rhashimoto@hks.harvard.edu::" providerId="AD" clId="Web-{6408E2EE-60A3-0092-19C8-94D3667BD970}" dt="2020-12-06T16:08:37.388" v="793"/>
          <ac:grpSpMkLst>
            <pc:docMk/>
            <pc:sldMk cId="3952555209" sldId="324"/>
            <ac:grpSpMk id="45" creationId="{14CA7EC3-943F-43DC-9889-F76DB050DE3F}"/>
          </ac:grpSpMkLst>
        </pc:grpChg>
        <pc:grpChg chg="mod">
          <ac:chgData name="rhashimoto@hks.harvard.edu" userId="S::urn:spo:guest#rhashimoto@hks.harvard.edu::" providerId="AD" clId="Web-{6408E2EE-60A3-0092-19C8-94D3667BD970}" dt="2020-12-06T15:52:37.083" v="511" actId="1076"/>
          <ac:grpSpMkLst>
            <pc:docMk/>
            <pc:sldMk cId="3952555209" sldId="324"/>
            <ac:grpSpMk id="47" creationId="{1A0FE03B-EF53-47D7-8AE0-ACE3B6D6A76E}"/>
          </ac:grpSpMkLst>
        </pc:grpChg>
        <pc:grpChg chg="del mod">
          <ac:chgData name="rhashimoto@hks.harvard.edu" userId="S::urn:spo:guest#rhashimoto@hks.harvard.edu::" providerId="AD" clId="Web-{6408E2EE-60A3-0092-19C8-94D3667BD970}" dt="2020-12-06T16:09:32.591" v="815"/>
          <ac:grpSpMkLst>
            <pc:docMk/>
            <pc:sldMk cId="3952555209" sldId="324"/>
            <ac:grpSpMk id="61" creationId="{698A4F11-65CF-4C11-A66E-01C2BE701DEA}"/>
          </ac:grpSpMkLst>
        </pc:grpChg>
        <pc:grpChg chg="del">
          <ac:chgData name="rhashimoto@hks.harvard.edu" userId="S::urn:spo:guest#rhashimoto@hks.harvard.edu::" providerId="AD" clId="Web-{6408E2EE-60A3-0092-19C8-94D3667BD970}" dt="2020-12-06T15:51:03.100" v="474"/>
          <ac:grpSpMkLst>
            <pc:docMk/>
            <pc:sldMk cId="3952555209" sldId="324"/>
            <ac:grpSpMk id="75" creationId="{4B7674F1-4D18-4805-85CB-137D16F3C504}"/>
          </ac:grpSpMkLst>
        </pc:grpChg>
        <pc:grpChg chg="del">
          <ac:chgData name="rhashimoto@hks.harvard.edu" userId="S::urn:spo:guest#rhashimoto@hks.harvard.edu::" providerId="AD" clId="Web-{6408E2EE-60A3-0092-19C8-94D3667BD970}" dt="2020-12-06T15:51:05.631" v="476"/>
          <ac:grpSpMkLst>
            <pc:docMk/>
            <pc:sldMk cId="3952555209" sldId="324"/>
            <ac:grpSpMk id="81" creationId="{CCDD6EE7-7795-466B-8A02-7B3A9B0B67AB}"/>
          </ac:grpSpMkLst>
        </pc:grpChg>
        <pc:grpChg chg="mod">
          <ac:chgData name="rhashimoto@hks.harvard.edu" userId="S::urn:spo:guest#rhashimoto@hks.harvard.edu::" providerId="AD" clId="Web-{6408E2EE-60A3-0092-19C8-94D3667BD970}" dt="2020-12-06T15:50:59.319" v="473" actId="14100"/>
          <ac:grpSpMkLst>
            <pc:docMk/>
            <pc:sldMk cId="3952555209" sldId="324"/>
            <ac:grpSpMk id="96" creationId="{B1282B5E-2425-41BD-999D-EF1F5F65EB8D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5:59:12.002" v="602" actId="1076"/>
          <ac:grpSpMkLst>
            <pc:docMk/>
            <pc:sldMk cId="3952555209" sldId="324"/>
            <ac:grpSpMk id="123" creationId="{5205963C-3F88-46CC-8694-B0CD79A86F96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5:59:10.143" v="601" actId="1076"/>
          <ac:grpSpMkLst>
            <pc:docMk/>
            <pc:sldMk cId="3952555209" sldId="324"/>
            <ac:grpSpMk id="133" creationId="{48A6576A-4771-46C4-B26F-DED0B5C92E79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5:59:08.861" v="600" actId="1076"/>
          <ac:grpSpMkLst>
            <pc:docMk/>
            <pc:sldMk cId="3952555209" sldId="324"/>
            <ac:grpSpMk id="142" creationId="{7B01DB03-BB6F-4FAD-8BF3-89363A2D6D2A}"/>
          </ac:grpSpMkLst>
        </pc:grpChg>
        <pc:grpChg chg="add mod">
          <ac:chgData name="rhashimoto@hks.harvard.edu" userId="S::urn:spo:guest#rhashimoto@hks.harvard.edu::" providerId="AD" clId="Web-{6408E2EE-60A3-0092-19C8-94D3667BD970}" dt="2020-12-06T16:33:44.281" v="1317" actId="1076"/>
          <ac:grpSpMkLst>
            <pc:docMk/>
            <pc:sldMk cId="3952555209" sldId="324"/>
            <ac:grpSpMk id="153" creationId="{AB3BDA1C-F9C0-470F-8D08-46224E1A9B74}"/>
          </ac:grpSpMkLst>
        </pc:grpChg>
        <pc:cxnChg chg="mod">
          <ac:chgData name="rhashimoto@hks.harvard.edu" userId="S::urn:spo:guest#rhashimoto@hks.harvard.edu::" providerId="AD" clId="Web-{6408E2EE-60A3-0092-19C8-94D3667BD970}" dt="2020-12-06T16:33:44.094" v="1314" actId="1076"/>
          <ac:cxnSpMkLst>
            <pc:docMk/>
            <pc:sldMk cId="3952555209" sldId="324"/>
            <ac:cxnSpMk id="117" creationId="{680A1ED4-E8EE-4DC1-A413-60F432C8F678}"/>
          </ac:cxnSpMkLst>
        </pc:cxnChg>
      </pc:sldChg>
      <pc:sldChg chg="modSp add ord replId">
        <pc:chgData name="rhashimoto@hks.harvard.edu" userId="S::urn:spo:guest#rhashimoto@hks.harvard.edu::" providerId="AD" clId="Web-{6408E2EE-60A3-0092-19C8-94D3667BD970}" dt="2020-12-06T15:32:53.297" v="6" actId="20577"/>
        <pc:sldMkLst>
          <pc:docMk/>
          <pc:sldMk cId="4252223035" sldId="325"/>
        </pc:sldMkLst>
        <pc:spChg chg="mod">
          <ac:chgData name="rhashimoto@hks.harvard.edu" userId="S::urn:spo:guest#rhashimoto@hks.harvard.edu::" providerId="AD" clId="Web-{6408E2EE-60A3-0092-19C8-94D3667BD970}" dt="2020-12-06T15:32:53.297" v="6" actId="20577"/>
          <ac:spMkLst>
            <pc:docMk/>
            <pc:sldMk cId="4252223035" sldId="325"/>
            <ac:spMk id="9" creationId="{B0AAEFB1-18A8-4DE6-9E19-C835D37DC5AD}"/>
          </ac:spMkLst>
        </pc:spChg>
      </pc:sldChg>
    </pc:docChg>
  </pc:docChgLst>
  <pc:docChgLst>
    <pc:chgData name="clement_brenot@hks.harvard.edu" userId="S::urn:spo:guest#clement_brenot@hks.harvard.edu::" providerId="AD" clId="Web-{20542248-2A1B-3219-2A98-FDE088C7EE0A}"/>
    <pc:docChg chg="addSld modSld sldOrd">
      <pc:chgData name="clement_brenot@hks.harvard.edu" userId="S::urn:spo:guest#clement_brenot@hks.harvard.edu::" providerId="AD" clId="Web-{20542248-2A1B-3219-2A98-FDE088C7EE0A}" dt="2020-12-09T23:34:03.105" v="176" actId="1076"/>
      <pc:docMkLst>
        <pc:docMk/>
      </pc:docMkLst>
      <pc:sldChg chg="addSp delSp modSp">
        <pc:chgData name="clement_brenot@hks.harvard.edu" userId="S::urn:spo:guest#clement_brenot@hks.harvard.edu::" providerId="AD" clId="Web-{20542248-2A1B-3219-2A98-FDE088C7EE0A}" dt="2020-12-09T23:34:03.105" v="176" actId="1076"/>
        <pc:sldMkLst>
          <pc:docMk/>
          <pc:sldMk cId="2443967825" sldId="342"/>
        </pc:sldMkLst>
        <pc:spChg chg="add del mod">
          <ac:chgData name="clement_brenot@hks.harvard.edu" userId="S::urn:spo:guest#clement_brenot@hks.harvard.edu::" providerId="AD" clId="Web-{20542248-2A1B-3219-2A98-FDE088C7EE0A}" dt="2020-12-09T23:33:41.058" v="168"/>
          <ac:spMkLst>
            <pc:docMk/>
            <pc:sldMk cId="2443967825" sldId="342"/>
            <ac:spMk id="4" creationId="{8E486FA4-BABE-43E0-B82E-461AFC738132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3:49.136" v="170" actId="1076"/>
          <ac:spMkLst>
            <pc:docMk/>
            <pc:sldMk cId="2443967825" sldId="342"/>
            <ac:spMk id="21" creationId="{B4EED06B-0973-47C7-AEAE-D6AF6D3AA42C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3:55.011" v="172" actId="1076"/>
          <ac:spMkLst>
            <pc:docMk/>
            <pc:sldMk cId="2443967825" sldId="342"/>
            <ac:spMk id="22" creationId="{719B2617-C994-4806-AEFF-F7BB42D35350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3:59.793" v="174" actId="1076"/>
          <ac:spMkLst>
            <pc:docMk/>
            <pc:sldMk cId="2443967825" sldId="342"/>
            <ac:spMk id="24" creationId="{C36AA495-879D-4EB8-8ACF-E47C63A56435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4:03.105" v="176" actId="1076"/>
          <ac:spMkLst>
            <pc:docMk/>
            <pc:sldMk cId="2443967825" sldId="342"/>
            <ac:spMk id="26" creationId="{3F5075C0-5C1B-49D2-85E8-A8E67532BE77}"/>
          </ac:spMkLst>
        </pc:spChg>
      </pc:sldChg>
      <pc:sldChg chg="modSp add ord replId">
        <pc:chgData name="clement_brenot@hks.harvard.edu" userId="S::urn:spo:guest#clement_brenot@hks.harvard.edu::" providerId="AD" clId="Web-{20542248-2A1B-3219-2A98-FDE088C7EE0A}" dt="2020-12-09T23:26:19.077" v="9" actId="20577"/>
        <pc:sldMkLst>
          <pc:docMk/>
          <pc:sldMk cId="4230363326" sldId="344"/>
        </pc:sldMkLst>
        <pc:spChg chg="mod">
          <ac:chgData name="clement_brenot@hks.harvard.edu" userId="S::urn:spo:guest#clement_brenot@hks.harvard.edu::" providerId="AD" clId="Web-{20542248-2A1B-3219-2A98-FDE088C7EE0A}" dt="2020-12-09T23:26:19.077" v="9" actId="20577"/>
          <ac:spMkLst>
            <pc:docMk/>
            <pc:sldMk cId="4230363326" sldId="344"/>
            <ac:spMk id="9" creationId="{B0AAEFB1-18A8-4DE6-9E19-C835D37DC5AD}"/>
          </ac:spMkLst>
        </pc:spChg>
      </pc:sldChg>
      <pc:sldChg chg="addSp delSp modSp add ord replId">
        <pc:chgData name="clement_brenot@hks.harvard.edu" userId="S::urn:spo:guest#clement_brenot@hks.harvard.edu::" providerId="AD" clId="Web-{20542248-2A1B-3219-2A98-FDE088C7EE0A}" dt="2020-12-09T23:31:30.523" v="163" actId="20577"/>
        <pc:sldMkLst>
          <pc:docMk/>
          <pc:sldMk cId="1278516569" sldId="345"/>
        </pc:sldMkLst>
        <pc:spChg chg="mod">
          <ac:chgData name="clement_brenot@hks.harvard.edu" userId="S::urn:spo:guest#clement_brenot@hks.harvard.edu::" providerId="AD" clId="Web-{20542248-2A1B-3219-2A98-FDE088C7EE0A}" dt="2020-12-09T23:30:36.506" v="114" actId="20577"/>
          <ac:spMkLst>
            <pc:docMk/>
            <pc:sldMk cId="1278516569" sldId="345"/>
            <ac:spMk id="2" creationId="{E0F77930-9255-4CE5-9DD0-D679D7DE43BE}"/>
          </ac:spMkLst>
        </pc:spChg>
        <pc:spChg chg="del mod">
          <ac:chgData name="clement_brenot@hks.harvard.edu" userId="S::urn:spo:guest#clement_brenot@hks.harvard.edu::" providerId="AD" clId="Web-{20542248-2A1B-3219-2A98-FDE088C7EE0A}" dt="2020-12-09T23:29:38.895" v="80"/>
          <ac:spMkLst>
            <pc:docMk/>
            <pc:sldMk cId="1278516569" sldId="345"/>
            <ac:spMk id="3" creationId="{8111356A-F780-4404-B75E-0094378213E7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6.783" v="48"/>
          <ac:spMkLst>
            <pc:docMk/>
            <pc:sldMk cId="1278516569" sldId="345"/>
            <ac:spMk id="5" creationId="{FAFABBCB-8579-463A-8921-0F58F6E0F263}"/>
          </ac:spMkLst>
        </pc:spChg>
        <pc:spChg chg="add del mod">
          <ac:chgData name="clement_brenot@hks.harvard.edu" userId="S::urn:spo:guest#clement_brenot@hks.harvard.edu::" providerId="AD" clId="Web-{20542248-2A1B-3219-2A98-FDE088C7EE0A}" dt="2020-12-09T23:29:48.145" v="81"/>
          <ac:spMkLst>
            <pc:docMk/>
            <pc:sldMk cId="1278516569" sldId="345"/>
            <ac:spMk id="7" creationId="{8F30CC73-6B6E-4B6D-AA64-E1AE951901DF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39.330" v="42"/>
          <ac:spMkLst>
            <pc:docMk/>
            <pc:sldMk cId="1278516569" sldId="345"/>
            <ac:spMk id="9" creationId="{D7A0E59C-09D8-4DC8-AB1E-565D3E2E568C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53.767" v="51"/>
          <ac:spMkLst>
            <pc:docMk/>
            <pc:sldMk cId="1278516569" sldId="345"/>
            <ac:spMk id="10" creationId="{6C898C12-DA1D-4B37-8E6D-BFF5BD397F8F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51.408" v="50"/>
          <ac:spMkLst>
            <pc:docMk/>
            <pc:sldMk cId="1278516569" sldId="345"/>
            <ac:spMk id="11" creationId="{0A5FE668-1BDF-460A-9E2B-9495A4D10BDB}"/>
          </ac:spMkLst>
        </pc:spChg>
        <pc:spChg chg="add mod">
          <ac:chgData name="clement_brenot@hks.harvard.edu" userId="S::urn:spo:guest#clement_brenot@hks.harvard.edu::" providerId="AD" clId="Web-{20542248-2A1B-3219-2A98-FDE088C7EE0A}" dt="2020-12-09T23:31:15.304" v="159" actId="20577"/>
          <ac:spMkLst>
            <pc:docMk/>
            <pc:sldMk cId="1278516569" sldId="345"/>
            <ac:spMk id="19" creationId="{114595B1-889B-4B7D-B23C-10CBC20A0E09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8:07.346" v="53"/>
          <ac:spMkLst>
            <pc:docMk/>
            <pc:sldMk cId="1278516569" sldId="345"/>
            <ac:spMk id="23" creationId="{668A9EC8-E424-4695-B108-DAC6B939A1A1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8:09.721" v="54"/>
          <ac:spMkLst>
            <pc:docMk/>
            <pc:sldMk cId="1278516569" sldId="345"/>
            <ac:spMk id="25" creationId="{D3F3A32D-F858-4896-A47A-CE358F96FE50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8:13.596" v="55"/>
          <ac:spMkLst>
            <pc:docMk/>
            <pc:sldMk cId="1278516569" sldId="345"/>
            <ac:spMk id="28" creationId="{72E2B3AA-53D8-4602-B227-A24A8C3A75BB}"/>
          </ac:spMkLst>
        </pc:spChg>
        <pc:spChg chg="mod">
          <ac:chgData name="clement_brenot@hks.harvard.edu" userId="S::urn:spo:guest#clement_brenot@hks.harvard.edu::" providerId="AD" clId="Web-{20542248-2A1B-3219-2A98-FDE088C7EE0A}" dt="2020-12-09T23:31:30.523" v="163" actId="20577"/>
          <ac:spMkLst>
            <pc:docMk/>
            <pc:sldMk cId="1278516569" sldId="345"/>
            <ac:spMk id="29" creationId="{49BD966D-A05E-41B9-A538-EBA4E2BD9A4A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6"/>
          <ac:spMkLst>
            <pc:docMk/>
            <pc:sldMk cId="1278516569" sldId="345"/>
            <ac:spMk id="31" creationId="{D350CA26-6769-4409-9443-F271ABEBCA0D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5"/>
          <ac:spMkLst>
            <pc:docMk/>
            <pc:sldMk cId="1278516569" sldId="345"/>
            <ac:spMk id="32" creationId="{8A8FD0B8-9173-4235-A4AB-A36E51739A18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8.330" v="49"/>
          <ac:spMkLst>
            <pc:docMk/>
            <pc:sldMk cId="1278516569" sldId="345"/>
            <ac:spMk id="33" creationId="{1AA01C30-06D6-4427-99D7-8E920F75ED92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4"/>
          <ac:spMkLst>
            <pc:docMk/>
            <pc:sldMk cId="1278516569" sldId="345"/>
            <ac:spMk id="34" creationId="{564B80F3-CF1C-44FE-BF4C-522EA13282F0}"/>
          </ac:spMkLst>
        </pc:spChg>
        <pc:spChg chg="del">
          <ac:chgData name="clement_brenot@hks.harvard.edu" userId="S::urn:spo:guest#clement_brenot@hks.harvard.edu::" providerId="AD" clId="Web-{20542248-2A1B-3219-2A98-FDE088C7EE0A}" dt="2020-12-09T23:27:43.673" v="43"/>
          <ac:spMkLst>
            <pc:docMk/>
            <pc:sldMk cId="1278516569" sldId="345"/>
            <ac:spMk id="35" creationId="{D5AC9ECF-7AA2-4339-B1B0-122414073BAB}"/>
          </ac:spMkLst>
        </pc:spChg>
        <pc:cxnChg chg="del">
          <ac:chgData name="clement_brenot@hks.harvard.edu" userId="S::urn:spo:guest#clement_brenot@hks.harvard.edu::" providerId="AD" clId="Web-{20542248-2A1B-3219-2A98-FDE088C7EE0A}" dt="2020-12-09T23:27:43.673" v="47"/>
          <ac:cxnSpMkLst>
            <pc:docMk/>
            <pc:sldMk cId="1278516569" sldId="345"/>
            <ac:cxnSpMk id="30" creationId="{6275D0DE-C94C-42D5-95D8-FB47BC3899B7}"/>
          </ac:cxnSpMkLst>
        </pc:cxnChg>
      </pc:sldChg>
    </pc:docChg>
  </pc:docChgLst>
  <pc:docChgLst>
    <pc:chgData name="Yaguchi, Yuki" userId="9e7febd7-de72-456b-b9f9-531c0b578ad5" providerId="ADAL" clId="{AD4CB57C-B35A-4CF8-8CD6-6BBA11FC110D}"/>
    <pc:docChg chg="undo redo custSel addSld delSld modSld modMainMaster">
      <pc:chgData name="Yaguchi, Yuki" userId="9e7febd7-de72-456b-b9f9-531c0b578ad5" providerId="ADAL" clId="{AD4CB57C-B35A-4CF8-8CD6-6BBA11FC110D}" dt="2020-12-05T18:38:24.266" v="2850" actId="313"/>
      <pc:docMkLst>
        <pc:docMk/>
      </pc:docMkLst>
      <pc:sldChg chg="modSp">
        <pc:chgData name="Yaguchi, Yuki" userId="9e7febd7-de72-456b-b9f9-531c0b578ad5" providerId="ADAL" clId="{AD4CB57C-B35A-4CF8-8CD6-6BBA11FC110D}" dt="2020-12-05T18:27:37.631" v="2849" actId="20577"/>
        <pc:sldMkLst>
          <pc:docMk/>
          <pc:sldMk cId="3984617762" sldId="257"/>
        </pc:sldMkLst>
        <pc:spChg chg="mod">
          <ac:chgData name="Yaguchi, Yuki" userId="9e7febd7-de72-456b-b9f9-531c0b578ad5" providerId="ADAL" clId="{AD4CB57C-B35A-4CF8-8CD6-6BBA11FC110D}" dt="2020-12-05T18:27:23.306" v="2828" actId="20577"/>
          <ac:spMkLst>
            <pc:docMk/>
            <pc:sldMk cId="3984617762" sldId="257"/>
            <ac:spMk id="2" creationId="{00000000-0000-0000-0000-000000000000}"/>
          </ac:spMkLst>
        </pc:spChg>
        <pc:spChg chg="mod">
          <ac:chgData name="Yaguchi, Yuki" userId="9e7febd7-de72-456b-b9f9-531c0b578ad5" providerId="ADAL" clId="{AD4CB57C-B35A-4CF8-8CD6-6BBA11FC110D}" dt="2020-12-05T18:27:37.631" v="2849" actId="20577"/>
          <ac:spMkLst>
            <pc:docMk/>
            <pc:sldMk cId="3984617762" sldId="257"/>
            <ac:spMk id="3" creationId="{00000000-0000-0000-0000-000000000000}"/>
          </ac:spMkLst>
        </pc:spChg>
      </pc:sldChg>
      <pc:sldChg chg="addSp delSp modSp add del">
        <pc:chgData name="Yaguchi, Yuki" userId="9e7febd7-de72-456b-b9f9-531c0b578ad5" providerId="ADAL" clId="{AD4CB57C-B35A-4CF8-8CD6-6BBA11FC110D}" dt="2020-12-05T18:13:14.524" v="2407"/>
        <pc:sldMkLst>
          <pc:docMk/>
          <pc:sldMk cId="3145321926" sldId="271"/>
        </pc:sldMkLst>
        <pc:spChg chg="del">
          <ac:chgData name="Yaguchi, Yuki" userId="9e7febd7-de72-456b-b9f9-531c0b578ad5" providerId="ADAL" clId="{AD4CB57C-B35A-4CF8-8CD6-6BBA11FC110D}" dt="2020-12-05T17:16:16.093" v="240" actId="478"/>
          <ac:spMkLst>
            <pc:docMk/>
            <pc:sldMk cId="3145321926" sldId="271"/>
            <ac:spMk id="2" creationId="{57376F31-C68D-4947-B6AB-D4D3399DB8CF}"/>
          </ac:spMkLst>
        </pc:spChg>
        <pc:spChg chg="mod ord">
          <ac:chgData name="Yaguchi, Yuki" userId="9e7febd7-de72-456b-b9f9-531c0b578ad5" providerId="ADAL" clId="{AD4CB57C-B35A-4CF8-8CD6-6BBA11FC110D}" dt="2020-12-05T17:47:59.444" v="977" actId="1076"/>
          <ac:spMkLst>
            <pc:docMk/>
            <pc:sldMk cId="3145321926" sldId="271"/>
            <ac:spMk id="7" creationId="{61D75854-4415-4E17-AEAB-9E0A9330A693}"/>
          </ac:spMkLst>
        </pc:spChg>
        <pc:spChg chg="add mod">
          <ac:chgData name="Yaguchi, Yuki" userId="9e7febd7-de72-456b-b9f9-531c0b578ad5" providerId="ADAL" clId="{AD4CB57C-B35A-4CF8-8CD6-6BBA11FC110D}" dt="2020-12-05T17:34:30.151" v="356" actId="27636"/>
          <ac:spMkLst>
            <pc:docMk/>
            <pc:sldMk cId="3145321926" sldId="271"/>
            <ac:spMk id="8" creationId="{8877635F-823A-4ABD-B484-DE8588AA46A8}"/>
          </ac:spMkLst>
        </pc:spChg>
        <pc:spChg chg="mod topLvl">
          <ac:chgData name="Yaguchi, Yuki" userId="9e7febd7-de72-456b-b9f9-531c0b578ad5" providerId="ADAL" clId="{AD4CB57C-B35A-4CF8-8CD6-6BBA11FC110D}" dt="2020-12-05T17:34:15.178" v="343" actId="108"/>
          <ac:spMkLst>
            <pc:docMk/>
            <pc:sldMk cId="3145321926" sldId="271"/>
            <ac:spMk id="9" creationId="{B77F5AC9-FA4C-4A33-A784-BF097FF3D4EE}"/>
          </ac:spMkLst>
        </pc:spChg>
        <pc:spChg chg="mod">
          <ac:chgData name="Yaguchi, Yuki" userId="9e7febd7-de72-456b-b9f9-531c0b578ad5" providerId="ADAL" clId="{AD4CB57C-B35A-4CF8-8CD6-6BBA11FC110D}" dt="2020-12-05T17:39:48.405" v="582" actId="113"/>
          <ac:spMkLst>
            <pc:docMk/>
            <pc:sldMk cId="3145321926" sldId="271"/>
            <ac:spMk id="10" creationId="{E7FB5E50-C110-4645-8045-906AD0D3E313}"/>
          </ac:spMkLst>
        </pc:spChg>
        <pc:spChg chg="del mod">
          <ac:chgData name="Yaguchi, Yuki" userId="9e7febd7-de72-456b-b9f9-531c0b578ad5" providerId="ADAL" clId="{AD4CB57C-B35A-4CF8-8CD6-6BBA11FC110D}" dt="2020-12-05T17:16:32.191" v="248" actId="478"/>
          <ac:spMkLst>
            <pc:docMk/>
            <pc:sldMk cId="3145321926" sldId="271"/>
            <ac:spMk id="11" creationId="{90DC83CA-9E68-49EE-B7F2-4D4638C6CDA7}"/>
          </ac:spMkLst>
        </pc:spChg>
        <pc:spChg chg="del">
          <ac:chgData name="Yaguchi, Yuki" userId="9e7febd7-de72-456b-b9f9-531c0b578ad5" providerId="ADAL" clId="{AD4CB57C-B35A-4CF8-8CD6-6BBA11FC110D}" dt="2020-12-05T17:16:30.317" v="246" actId="478"/>
          <ac:spMkLst>
            <pc:docMk/>
            <pc:sldMk cId="3145321926" sldId="271"/>
            <ac:spMk id="13" creationId="{DA8BF124-73E6-4949-A4B2-470D4DD3C05C}"/>
          </ac:spMkLst>
        </pc:spChg>
        <pc:spChg chg="del mod">
          <ac:chgData name="Yaguchi, Yuki" userId="9e7febd7-de72-456b-b9f9-531c0b578ad5" providerId="ADAL" clId="{AD4CB57C-B35A-4CF8-8CD6-6BBA11FC110D}" dt="2020-12-05T17:42:05.208" v="755" actId="478"/>
          <ac:spMkLst>
            <pc:docMk/>
            <pc:sldMk cId="3145321926" sldId="271"/>
            <ac:spMk id="15" creationId="{08F47EDD-3698-4E61-96C4-4662F43A37A0}"/>
          </ac:spMkLst>
        </pc:spChg>
        <pc:spChg chg="del mod">
          <ac:chgData name="Yaguchi, Yuki" userId="9e7febd7-de72-456b-b9f9-531c0b578ad5" providerId="ADAL" clId="{AD4CB57C-B35A-4CF8-8CD6-6BBA11FC110D}" dt="2020-12-05T17:35:16.524" v="392" actId="478"/>
          <ac:spMkLst>
            <pc:docMk/>
            <pc:sldMk cId="3145321926" sldId="271"/>
            <ac:spMk id="16" creationId="{399D7716-2B4E-47A3-AFCB-B85C8D7CA051}"/>
          </ac:spMkLst>
        </pc:spChg>
        <pc:spChg chg="mod">
          <ac:chgData name="Yaguchi, Yuki" userId="9e7febd7-de72-456b-b9f9-531c0b578ad5" providerId="ADAL" clId="{AD4CB57C-B35A-4CF8-8CD6-6BBA11FC110D}" dt="2020-12-05T17:48:36.675" v="1009" actId="1076"/>
          <ac:spMkLst>
            <pc:docMk/>
            <pc:sldMk cId="3145321926" sldId="271"/>
            <ac:spMk id="17" creationId="{35FA8620-D846-4771-A1E8-0A4D52766F3A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18" creationId="{637489A0-2E6F-4954-B9E7-43F7F30B60DF}"/>
          </ac:spMkLst>
        </pc:spChg>
        <pc:spChg chg="add mod or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19" creationId="{FC4B1C8C-3BF4-4317-B53F-EE4A3923ABFD}"/>
          </ac:spMkLst>
        </pc:spChg>
        <pc:spChg chg="del">
          <ac:chgData name="Yaguchi, Yuki" userId="9e7febd7-de72-456b-b9f9-531c0b578ad5" providerId="ADAL" clId="{AD4CB57C-B35A-4CF8-8CD6-6BBA11FC110D}" dt="2020-12-05T17:30:23.370" v="260" actId="478"/>
          <ac:spMkLst>
            <pc:docMk/>
            <pc:sldMk cId="3145321926" sldId="271"/>
            <ac:spMk id="21" creationId="{60191D11-B741-4F1F-9F7D-2DC132B9CA72}"/>
          </ac:spMkLst>
        </pc:spChg>
        <pc:spChg chg="del topLvl">
          <ac:chgData name="Yaguchi, Yuki" userId="9e7febd7-de72-456b-b9f9-531c0b578ad5" providerId="ADAL" clId="{AD4CB57C-B35A-4CF8-8CD6-6BBA11FC110D}" dt="2020-12-05T17:30:26.250" v="261" actId="478"/>
          <ac:spMkLst>
            <pc:docMk/>
            <pc:sldMk cId="3145321926" sldId="271"/>
            <ac:spMk id="22" creationId="{2E95AB40-1F24-40A2-933E-9B4D92848889}"/>
          </ac:spMkLst>
        </pc:spChg>
        <pc:spChg chg="add del mod">
          <ac:chgData name="Yaguchi, Yuki" userId="9e7febd7-de72-456b-b9f9-531c0b578ad5" providerId="ADAL" clId="{AD4CB57C-B35A-4CF8-8CD6-6BBA11FC110D}" dt="2020-12-05T17:30:49.547" v="272" actId="478"/>
          <ac:spMkLst>
            <pc:docMk/>
            <pc:sldMk cId="3145321926" sldId="271"/>
            <ac:spMk id="23" creationId="{67F41066-352B-4EBA-A936-B79C395ABB72}"/>
          </ac:spMkLst>
        </pc:spChg>
        <pc:spChg chg="add del mod">
          <ac:chgData name="Yaguchi, Yuki" userId="9e7febd7-de72-456b-b9f9-531c0b578ad5" providerId="ADAL" clId="{AD4CB57C-B35A-4CF8-8CD6-6BBA11FC110D}" dt="2020-12-05T17:30:51.241" v="274" actId="478"/>
          <ac:spMkLst>
            <pc:docMk/>
            <pc:sldMk cId="3145321926" sldId="271"/>
            <ac:spMk id="24" creationId="{A1EC3121-BC07-4605-8E9D-A3AB0289BF3F}"/>
          </ac:spMkLst>
        </pc:spChg>
        <pc:spChg chg="add del mod">
          <ac:chgData name="Yaguchi, Yuki" userId="9e7febd7-de72-456b-b9f9-531c0b578ad5" providerId="ADAL" clId="{AD4CB57C-B35A-4CF8-8CD6-6BBA11FC110D}" dt="2020-12-05T17:30:53.805" v="277" actId="478"/>
          <ac:spMkLst>
            <pc:docMk/>
            <pc:sldMk cId="3145321926" sldId="271"/>
            <ac:spMk id="25" creationId="{8CC24A5E-7809-4B7F-8B09-58C9107445F8}"/>
          </ac:spMkLst>
        </pc:spChg>
        <pc:spChg chg="add del mod">
          <ac:chgData name="Yaguchi, Yuki" userId="9e7febd7-de72-456b-b9f9-531c0b578ad5" providerId="ADAL" clId="{AD4CB57C-B35A-4CF8-8CD6-6BBA11FC110D}" dt="2020-12-05T17:30:44.162" v="270" actId="478"/>
          <ac:spMkLst>
            <pc:docMk/>
            <pc:sldMk cId="3145321926" sldId="271"/>
            <ac:spMk id="26" creationId="{EB44CA9F-1C3A-4580-9DD6-DBF1D932BB4A}"/>
          </ac:spMkLst>
        </pc:spChg>
        <pc:spChg chg="add del">
          <ac:chgData name="Yaguchi, Yuki" userId="9e7febd7-de72-456b-b9f9-531c0b578ad5" providerId="ADAL" clId="{AD4CB57C-B35A-4CF8-8CD6-6BBA11FC110D}" dt="2020-12-05T17:31:00.767" v="281"/>
          <ac:spMkLst>
            <pc:docMk/>
            <pc:sldMk cId="3145321926" sldId="271"/>
            <ac:spMk id="27" creationId="{C5FB02B7-03E1-456D-B38B-D64CBD817E9D}"/>
          </ac:spMkLst>
        </pc:spChg>
        <pc:spChg chg="add del">
          <ac:chgData name="Yaguchi, Yuki" userId="9e7febd7-de72-456b-b9f9-531c0b578ad5" providerId="ADAL" clId="{AD4CB57C-B35A-4CF8-8CD6-6BBA11FC110D}" dt="2020-12-05T17:31:00.632" v="280"/>
          <ac:spMkLst>
            <pc:docMk/>
            <pc:sldMk cId="3145321926" sldId="271"/>
            <ac:spMk id="28" creationId="{302454C6-A2FE-4237-9768-0B46C51543FC}"/>
          </ac:spMkLst>
        </pc:spChg>
        <pc:spChg chg="add mod">
          <ac:chgData name="Yaguchi, Yuki" userId="9e7febd7-de72-456b-b9f9-531c0b578ad5" providerId="ADAL" clId="{AD4CB57C-B35A-4CF8-8CD6-6BBA11FC110D}" dt="2020-12-05T17:33:54.747" v="332" actId="20577"/>
          <ac:spMkLst>
            <pc:docMk/>
            <pc:sldMk cId="3145321926" sldId="271"/>
            <ac:spMk id="29" creationId="{9B2352D4-67EF-4E64-AB40-640F837C6E3F}"/>
          </ac:spMkLst>
        </pc:spChg>
        <pc:spChg chg="add del mod">
          <ac:chgData name="Yaguchi, Yuki" userId="9e7febd7-de72-456b-b9f9-531c0b578ad5" providerId="ADAL" clId="{AD4CB57C-B35A-4CF8-8CD6-6BBA11FC110D}" dt="2020-12-05T17:33:05.339" v="297" actId="478"/>
          <ac:spMkLst>
            <pc:docMk/>
            <pc:sldMk cId="3145321926" sldId="271"/>
            <ac:spMk id="30" creationId="{7B3903AD-A899-42DA-B775-79D334148FDA}"/>
          </ac:spMkLst>
        </pc:spChg>
        <pc:spChg chg="add del mod">
          <ac:chgData name="Yaguchi, Yuki" userId="9e7febd7-de72-456b-b9f9-531c0b578ad5" providerId="ADAL" clId="{AD4CB57C-B35A-4CF8-8CD6-6BBA11FC110D}" dt="2020-12-05T17:33:19.378" v="300" actId="478"/>
          <ac:spMkLst>
            <pc:docMk/>
            <pc:sldMk cId="3145321926" sldId="271"/>
            <ac:spMk id="31" creationId="{F6E0CAE3-E2B7-4A36-9702-6A168FB1746C}"/>
          </ac:spMkLst>
        </pc:spChg>
        <pc:spChg chg="add del mod">
          <ac:chgData name="Yaguchi, Yuki" userId="9e7febd7-de72-456b-b9f9-531c0b578ad5" providerId="ADAL" clId="{AD4CB57C-B35A-4CF8-8CD6-6BBA11FC110D}" dt="2020-12-05T17:33:22.677" v="301" actId="478"/>
          <ac:spMkLst>
            <pc:docMk/>
            <pc:sldMk cId="3145321926" sldId="271"/>
            <ac:spMk id="32" creationId="{35E0B7AF-DE46-4296-B478-42D83A9B9E88}"/>
          </ac:spMkLst>
        </pc:spChg>
        <pc:spChg chg="add mod">
          <ac:chgData name="Yaguchi, Yuki" userId="9e7febd7-de72-456b-b9f9-531c0b578ad5" providerId="ADAL" clId="{AD4CB57C-B35A-4CF8-8CD6-6BBA11FC110D}" dt="2020-12-05T17:33:58.347" v="335" actId="20577"/>
          <ac:spMkLst>
            <pc:docMk/>
            <pc:sldMk cId="3145321926" sldId="271"/>
            <ac:spMk id="33" creationId="{6A920CC9-3FAA-4C72-AAA8-18A66133A51D}"/>
          </ac:spMkLst>
        </pc:spChg>
        <pc:spChg chg="add mod">
          <ac:chgData name="Yaguchi, Yuki" userId="9e7febd7-de72-456b-b9f9-531c0b578ad5" providerId="ADAL" clId="{AD4CB57C-B35A-4CF8-8CD6-6BBA11FC110D}" dt="2020-12-05T17:34:04.858" v="339" actId="20577"/>
          <ac:spMkLst>
            <pc:docMk/>
            <pc:sldMk cId="3145321926" sldId="271"/>
            <ac:spMk id="34" creationId="{DBF1D541-BE8F-4CBE-BFC8-BC3924B27C7B}"/>
          </ac:spMkLst>
        </pc:spChg>
        <pc:spChg chg="add mod">
          <ac:chgData name="Yaguchi, Yuki" userId="9e7febd7-de72-456b-b9f9-531c0b578ad5" providerId="ADAL" clId="{AD4CB57C-B35A-4CF8-8CD6-6BBA11FC110D}" dt="2020-12-05T17:34:12.424" v="342" actId="108"/>
          <ac:spMkLst>
            <pc:docMk/>
            <pc:sldMk cId="3145321926" sldId="271"/>
            <ac:spMk id="35" creationId="{D675D980-AD0A-47CA-8AE9-BAB8480B0DE2}"/>
          </ac:spMkLst>
        </pc:spChg>
        <pc:spChg chg="add mod">
          <ac:chgData name="Yaguchi, Yuki" userId="9e7febd7-de72-456b-b9f9-531c0b578ad5" providerId="ADAL" clId="{AD4CB57C-B35A-4CF8-8CD6-6BBA11FC110D}" dt="2020-12-05T17:41:48.111" v="751" actId="1076"/>
          <ac:spMkLst>
            <pc:docMk/>
            <pc:sldMk cId="3145321926" sldId="271"/>
            <ac:spMk id="36" creationId="{949C1BAC-E1AF-4842-A4C7-431168FB9C94}"/>
          </ac:spMkLst>
        </pc:spChg>
        <pc:spChg chg="mod">
          <ac:chgData name="Yaguchi, Yuki" userId="9e7febd7-de72-456b-b9f9-531c0b578ad5" providerId="ADAL" clId="{AD4CB57C-B35A-4CF8-8CD6-6BBA11FC110D}" dt="2020-12-05T17:49:25.291" v="1039" actId="6549"/>
          <ac:spMkLst>
            <pc:docMk/>
            <pc:sldMk cId="3145321926" sldId="271"/>
            <ac:spMk id="39" creationId="{A37F9732-0DF4-42F8-B779-2263C0A6A08B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0" creationId="{1471476D-57EA-4FAC-A540-8310A657EA39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1" creationId="{2E3853B9-5149-4D8C-AE85-8D15BD79F2C2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2" creationId="{952A29CC-E3F4-44A9-84DA-BAD4077583D4}"/>
          </ac:spMkLst>
        </pc:spChg>
        <pc:spChg chg="add mod">
          <ac:chgData name="Yaguchi, Yuki" userId="9e7febd7-de72-456b-b9f9-531c0b578ad5" providerId="ADAL" clId="{AD4CB57C-B35A-4CF8-8CD6-6BBA11FC110D}" dt="2020-12-05T17:38:32.823" v="533" actId="164"/>
          <ac:spMkLst>
            <pc:docMk/>
            <pc:sldMk cId="3145321926" sldId="271"/>
            <ac:spMk id="43" creationId="{1323DFB1-7FB8-4025-92E2-FF5C602C7479}"/>
          </ac:spMkLst>
        </pc:spChg>
        <pc:spChg chg="add mod">
          <ac:chgData name="Yaguchi, Yuki" userId="9e7febd7-de72-456b-b9f9-531c0b578ad5" providerId="ADAL" clId="{AD4CB57C-B35A-4CF8-8CD6-6BBA11FC110D}" dt="2020-12-05T17:44:18.618" v="852" actId="122"/>
          <ac:spMkLst>
            <pc:docMk/>
            <pc:sldMk cId="3145321926" sldId="271"/>
            <ac:spMk id="44" creationId="{24C009A9-940D-4226-96E3-F00415B1A58D}"/>
          </ac:spMkLst>
        </pc:spChg>
        <pc:spChg chg="add mod">
          <ac:chgData name="Yaguchi, Yuki" userId="9e7febd7-de72-456b-b9f9-531c0b578ad5" providerId="ADAL" clId="{AD4CB57C-B35A-4CF8-8CD6-6BBA11FC110D}" dt="2020-12-05T17:41:03.898" v="703" actId="20577"/>
          <ac:spMkLst>
            <pc:docMk/>
            <pc:sldMk cId="3145321926" sldId="271"/>
            <ac:spMk id="46" creationId="{5EF5A04A-4329-4C5F-A8B1-B5DBE47C849F}"/>
          </ac:spMkLst>
        </pc:spChg>
        <pc:spChg chg="mod">
          <ac:chgData name="Yaguchi, Yuki" userId="9e7febd7-de72-456b-b9f9-531c0b578ad5" providerId="ADAL" clId="{AD4CB57C-B35A-4CF8-8CD6-6BBA11FC110D}" dt="2020-12-05T17:41:22.439" v="719" actId="20577"/>
          <ac:spMkLst>
            <pc:docMk/>
            <pc:sldMk cId="3145321926" sldId="271"/>
            <ac:spMk id="49" creationId="{B25102B5-56D3-4B1B-BED8-0E78CA75DBA9}"/>
          </ac:spMkLst>
        </pc:spChg>
        <pc:spChg chg="mod">
          <ac:chgData name="Yaguchi, Yuki" userId="9e7febd7-de72-456b-b9f9-531c0b578ad5" providerId="ADAL" clId="{AD4CB57C-B35A-4CF8-8CD6-6BBA11FC110D}" dt="2020-12-05T17:41:28.128" v="729" actId="20577"/>
          <ac:spMkLst>
            <pc:docMk/>
            <pc:sldMk cId="3145321926" sldId="271"/>
            <ac:spMk id="50" creationId="{998B0DEE-2ABC-4D5B-AB76-ADEF774D3F1C}"/>
          </ac:spMkLst>
        </pc:spChg>
        <pc:spChg chg="mod">
          <ac:chgData name="Yaguchi, Yuki" userId="9e7febd7-de72-456b-b9f9-531c0b578ad5" providerId="ADAL" clId="{AD4CB57C-B35A-4CF8-8CD6-6BBA11FC110D}" dt="2020-12-05T17:41:31.692" v="736" actId="20577"/>
          <ac:spMkLst>
            <pc:docMk/>
            <pc:sldMk cId="3145321926" sldId="271"/>
            <ac:spMk id="51" creationId="{32B54208-3A8D-43F3-9CA3-D5250358A53B}"/>
          </ac:spMkLst>
        </pc:spChg>
        <pc:spChg chg="mod">
          <ac:chgData name="Yaguchi, Yuki" userId="9e7febd7-de72-456b-b9f9-531c0b578ad5" providerId="ADAL" clId="{AD4CB57C-B35A-4CF8-8CD6-6BBA11FC110D}" dt="2020-12-05T17:41:35.047" v="743" actId="20577"/>
          <ac:spMkLst>
            <pc:docMk/>
            <pc:sldMk cId="3145321926" sldId="271"/>
            <ac:spMk id="52" creationId="{3967DD6B-B53A-4097-8F5F-216F61349AE2}"/>
          </ac:spMkLst>
        </pc:spChg>
        <pc:spChg chg="mod">
          <ac:chgData name="Yaguchi, Yuki" userId="9e7febd7-de72-456b-b9f9-531c0b578ad5" providerId="ADAL" clId="{AD4CB57C-B35A-4CF8-8CD6-6BBA11FC110D}" dt="2020-12-05T17:41:39.299" v="750" actId="20577"/>
          <ac:spMkLst>
            <pc:docMk/>
            <pc:sldMk cId="3145321926" sldId="271"/>
            <ac:spMk id="53" creationId="{EE365F45-6A00-408C-BB58-19FCD3FFCC73}"/>
          </ac:spMkLst>
        </pc:spChg>
        <pc:spChg chg="add mod">
          <ac:chgData name="Yaguchi, Yuki" userId="9e7febd7-de72-456b-b9f9-531c0b578ad5" providerId="ADAL" clId="{AD4CB57C-B35A-4CF8-8CD6-6BBA11FC110D}" dt="2020-12-05T17:45:12.134" v="891" actId="1076"/>
          <ac:spMkLst>
            <pc:docMk/>
            <pc:sldMk cId="3145321926" sldId="271"/>
            <ac:spMk id="54" creationId="{61FFCF64-BE59-4FD4-88D9-876E67372C29}"/>
          </ac:spMkLst>
        </pc:spChg>
        <pc:spChg chg="add mod">
          <ac:chgData name="Yaguchi, Yuki" userId="9e7febd7-de72-456b-b9f9-531c0b578ad5" providerId="ADAL" clId="{AD4CB57C-B35A-4CF8-8CD6-6BBA11FC110D}" dt="2020-12-05T17:42:20.203" v="775" actId="20577"/>
          <ac:spMkLst>
            <pc:docMk/>
            <pc:sldMk cId="3145321926" sldId="271"/>
            <ac:spMk id="55" creationId="{FF035B74-720A-4EBA-ABA2-41D034780A79}"/>
          </ac:spMkLst>
        </pc:spChg>
        <pc:spChg chg="add mod">
          <ac:chgData name="Yaguchi, Yuki" userId="9e7febd7-de72-456b-b9f9-531c0b578ad5" providerId="ADAL" clId="{AD4CB57C-B35A-4CF8-8CD6-6BBA11FC110D}" dt="2020-12-05T17:47:47.698" v="973" actId="1076"/>
          <ac:spMkLst>
            <pc:docMk/>
            <pc:sldMk cId="3145321926" sldId="271"/>
            <ac:spMk id="56" creationId="{300BE465-19DF-4E6A-AE00-B648FDFC4F8E}"/>
          </ac:spMkLst>
        </pc:spChg>
        <pc:spChg chg="add del mod">
          <ac:chgData name="Yaguchi, Yuki" userId="9e7febd7-de72-456b-b9f9-531c0b578ad5" providerId="ADAL" clId="{AD4CB57C-B35A-4CF8-8CD6-6BBA11FC110D}" dt="2020-12-05T17:42:48.168" v="787" actId="478"/>
          <ac:spMkLst>
            <pc:docMk/>
            <pc:sldMk cId="3145321926" sldId="271"/>
            <ac:spMk id="57" creationId="{D332E6A9-4A68-4B30-A9CE-823B3C8D6C3F}"/>
          </ac:spMkLst>
        </pc:spChg>
        <pc:spChg chg="add del mod">
          <ac:chgData name="Yaguchi, Yuki" userId="9e7febd7-de72-456b-b9f9-531c0b578ad5" providerId="ADAL" clId="{AD4CB57C-B35A-4CF8-8CD6-6BBA11FC110D}" dt="2020-12-05T17:42:47.072" v="786" actId="478"/>
          <ac:spMkLst>
            <pc:docMk/>
            <pc:sldMk cId="3145321926" sldId="271"/>
            <ac:spMk id="58" creationId="{8C3008D2-985D-4CAF-9320-8B3DC895724C}"/>
          </ac:spMkLst>
        </pc:spChg>
        <pc:spChg chg="add mod">
          <ac:chgData name="Yaguchi, Yuki" userId="9e7febd7-de72-456b-b9f9-531c0b578ad5" providerId="ADAL" clId="{AD4CB57C-B35A-4CF8-8CD6-6BBA11FC110D}" dt="2020-12-05T17:43:13.108" v="794" actId="6549"/>
          <ac:spMkLst>
            <pc:docMk/>
            <pc:sldMk cId="3145321926" sldId="271"/>
            <ac:spMk id="59" creationId="{9259D7E4-1AD4-4581-A087-C4ED7A9B1708}"/>
          </ac:spMkLst>
        </pc:spChg>
        <pc:spChg chg="add mod">
          <ac:chgData name="Yaguchi, Yuki" userId="9e7febd7-de72-456b-b9f9-531c0b578ad5" providerId="ADAL" clId="{AD4CB57C-B35A-4CF8-8CD6-6BBA11FC110D}" dt="2020-12-05T17:43:15.465" v="795" actId="6549"/>
          <ac:spMkLst>
            <pc:docMk/>
            <pc:sldMk cId="3145321926" sldId="271"/>
            <ac:spMk id="60" creationId="{3BD99CDE-6CE6-451E-9589-5060FA553EF8}"/>
          </ac:spMkLst>
        </pc:spChg>
        <pc:spChg chg="add mod">
          <ac:chgData name="Yaguchi, Yuki" userId="9e7febd7-de72-456b-b9f9-531c0b578ad5" providerId="ADAL" clId="{AD4CB57C-B35A-4CF8-8CD6-6BBA11FC110D}" dt="2020-12-05T17:44:21.019" v="854" actId="122"/>
          <ac:spMkLst>
            <pc:docMk/>
            <pc:sldMk cId="3145321926" sldId="271"/>
            <ac:spMk id="62" creationId="{32A4CE61-7143-4B28-A387-83097975B942}"/>
          </ac:spMkLst>
        </pc:spChg>
        <pc:spChg chg="add mod">
          <ac:chgData name="Yaguchi, Yuki" userId="9e7febd7-de72-456b-b9f9-531c0b578ad5" providerId="ADAL" clId="{AD4CB57C-B35A-4CF8-8CD6-6BBA11FC110D}" dt="2020-12-05T17:44:23.635" v="855" actId="122"/>
          <ac:spMkLst>
            <pc:docMk/>
            <pc:sldMk cId="3145321926" sldId="271"/>
            <ac:spMk id="63" creationId="{3B87171A-2363-4AB8-9D32-85F1EEC1BE62}"/>
          </ac:spMkLst>
        </pc:spChg>
        <pc:spChg chg="add mod">
          <ac:chgData name="Yaguchi, Yuki" userId="9e7febd7-de72-456b-b9f9-531c0b578ad5" providerId="ADAL" clId="{AD4CB57C-B35A-4CF8-8CD6-6BBA11FC110D}" dt="2020-12-05T17:47:00.508" v="943" actId="1076"/>
          <ac:spMkLst>
            <pc:docMk/>
            <pc:sldMk cId="3145321926" sldId="271"/>
            <ac:spMk id="64" creationId="{0D45A8C2-B519-4850-8179-FF9AA109F027}"/>
          </ac:spMkLst>
        </pc:spChg>
        <pc:spChg chg="add mod">
          <ac:chgData name="Yaguchi, Yuki" userId="9e7febd7-de72-456b-b9f9-531c0b578ad5" providerId="ADAL" clId="{AD4CB57C-B35A-4CF8-8CD6-6BBA11FC110D}" dt="2020-12-05T17:45:16.604" v="892" actId="1076"/>
          <ac:spMkLst>
            <pc:docMk/>
            <pc:sldMk cId="3145321926" sldId="271"/>
            <ac:spMk id="65" creationId="{C1F255B2-CE5E-463F-B469-E08F8D900E9F}"/>
          </ac:spMkLst>
        </pc:spChg>
        <pc:spChg chg="add mod">
          <ac:chgData name="Yaguchi, Yuki" userId="9e7febd7-de72-456b-b9f9-531c0b578ad5" providerId="ADAL" clId="{AD4CB57C-B35A-4CF8-8CD6-6BBA11FC110D}" dt="2020-12-05T17:45:28.904" v="908" actId="1076"/>
          <ac:spMkLst>
            <pc:docMk/>
            <pc:sldMk cId="3145321926" sldId="271"/>
            <ac:spMk id="66" creationId="{1CF9105A-41A7-47DF-B52B-D7C8B99A6D52}"/>
          </ac:spMkLst>
        </pc:spChg>
        <pc:spChg chg="add mod">
          <ac:chgData name="Yaguchi, Yuki" userId="9e7febd7-de72-456b-b9f9-531c0b578ad5" providerId="ADAL" clId="{AD4CB57C-B35A-4CF8-8CD6-6BBA11FC110D}" dt="2020-12-05T17:47:13.544" v="952" actId="20577"/>
          <ac:spMkLst>
            <pc:docMk/>
            <pc:sldMk cId="3145321926" sldId="271"/>
            <ac:spMk id="67" creationId="{DE3305CF-DAC0-4236-AF91-61ADDC311532}"/>
          </ac:spMkLst>
        </pc:spChg>
        <pc:spChg chg="add mod">
          <ac:chgData name="Yaguchi, Yuki" userId="9e7febd7-de72-456b-b9f9-531c0b578ad5" providerId="ADAL" clId="{AD4CB57C-B35A-4CF8-8CD6-6BBA11FC110D}" dt="2020-12-05T17:47:20.713" v="956" actId="20577"/>
          <ac:spMkLst>
            <pc:docMk/>
            <pc:sldMk cId="3145321926" sldId="271"/>
            <ac:spMk id="68" creationId="{9323CE5D-3953-489E-AD68-1991879DE4C7}"/>
          </ac:spMkLst>
        </pc:spChg>
        <pc:spChg chg="add mod">
          <ac:chgData name="Yaguchi, Yuki" userId="9e7febd7-de72-456b-b9f9-531c0b578ad5" providerId="ADAL" clId="{AD4CB57C-B35A-4CF8-8CD6-6BBA11FC110D}" dt="2020-12-05T17:47:27.389" v="960" actId="20577"/>
          <ac:spMkLst>
            <pc:docMk/>
            <pc:sldMk cId="3145321926" sldId="271"/>
            <ac:spMk id="69" creationId="{E839C2BD-DA1D-45AC-8504-FDF36555243E}"/>
          </ac:spMkLst>
        </pc:spChg>
        <pc:spChg chg="add mod">
          <ac:chgData name="Yaguchi, Yuki" userId="9e7febd7-de72-456b-b9f9-531c0b578ad5" providerId="ADAL" clId="{AD4CB57C-B35A-4CF8-8CD6-6BBA11FC110D}" dt="2020-12-05T17:47:34.546" v="966" actId="20577"/>
          <ac:spMkLst>
            <pc:docMk/>
            <pc:sldMk cId="3145321926" sldId="271"/>
            <ac:spMk id="70" creationId="{8A784972-BABD-4BD1-9483-83F0885E0F37}"/>
          </ac:spMkLst>
        </pc:spChg>
        <pc:spChg chg="add mod">
          <ac:chgData name="Yaguchi, Yuki" userId="9e7febd7-de72-456b-b9f9-531c0b578ad5" providerId="ADAL" clId="{AD4CB57C-B35A-4CF8-8CD6-6BBA11FC110D}" dt="2020-12-05T17:46:48.437" v="940" actId="571"/>
          <ac:spMkLst>
            <pc:docMk/>
            <pc:sldMk cId="3145321926" sldId="271"/>
            <ac:spMk id="71" creationId="{EBA1F26F-CEB0-48EE-87AD-D1464767B7F8}"/>
          </ac:spMkLst>
        </pc:spChg>
        <pc:spChg chg="add mod">
          <ac:chgData name="Yaguchi, Yuki" userId="9e7febd7-de72-456b-b9f9-531c0b578ad5" providerId="ADAL" clId="{AD4CB57C-B35A-4CF8-8CD6-6BBA11FC110D}" dt="2020-12-05T17:46:48.437" v="940" actId="571"/>
          <ac:spMkLst>
            <pc:docMk/>
            <pc:sldMk cId="3145321926" sldId="271"/>
            <ac:spMk id="72" creationId="{9F9B6364-D62B-41D1-BB01-4BC7736E9A0C}"/>
          </ac:spMkLst>
        </pc:spChg>
        <pc:spChg chg="add mod">
          <ac:chgData name="Yaguchi, Yuki" userId="9e7febd7-de72-456b-b9f9-531c0b578ad5" providerId="ADAL" clId="{AD4CB57C-B35A-4CF8-8CD6-6BBA11FC110D}" dt="2020-12-05T17:46:48.437" v="940" actId="571"/>
          <ac:spMkLst>
            <pc:docMk/>
            <pc:sldMk cId="3145321926" sldId="271"/>
            <ac:spMk id="73" creationId="{3862A054-1560-429C-B598-7A059E707F8A}"/>
          </ac:spMkLst>
        </pc:spChg>
        <pc:spChg chg="add mod">
          <ac:chgData name="Yaguchi, Yuki" userId="9e7febd7-de72-456b-b9f9-531c0b578ad5" providerId="ADAL" clId="{AD4CB57C-B35A-4CF8-8CD6-6BBA11FC110D}" dt="2020-12-05T17:54:24.462" v="1197" actId="1076"/>
          <ac:spMkLst>
            <pc:docMk/>
            <pc:sldMk cId="3145321926" sldId="271"/>
            <ac:spMk id="74" creationId="{47E6BD76-35F9-4CA1-BD24-34D98CB191FA}"/>
          </ac:spMkLst>
        </pc:spChg>
        <pc:spChg chg="add mod">
          <ac:chgData name="Yaguchi, Yuki" userId="9e7febd7-de72-456b-b9f9-531c0b578ad5" providerId="ADAL" clId="{AD4CB57C-B35A-4CF8-8CD6-6BBA11FC110D}" dt="2020-12-05T17:48:23.721" v="1006" actId="1076"/>
          <ac:spMkLst>
            <pc:docMk/>
            <pc:sldMk cId="3145321926" sldId="271"/>
            <ac:spMk id="87" creationId="{FD6B039C-D7CC-4D97-B95F-1361242B5170}"/>
          </ac:spMkLst>
        </pc:spChg>
        <pc:spChg chg="add mod">
          <ac:chgData name="Yaguchi, Yuki" userId="9e7febd7-de72-456b-b9f9-531c0b578ad5" providerId="ADAL" clId="{AD4CB57C-B35A-4CF8-8CD6-6BBA11FC110D}" dt="2020-12-05T17:50:09.974" v="1057" actId="1076"/>
          <ac:spMkLst>
            <pc:docMk/>
            <pc:sldMk cId="3145321926" sldId="271"/>
            <ac:spMk id="88" creationId="{D7216B4F-B5B0-44BF-9D82-BBF64FF63F0B}"/>
          </ac:spMkLst>
        </pc:spChg>
        <pc:spChg chg="add mod">
          <ac:chgData name="Yaguchi, Yuki" userId="9e7febd7-de72-456b-b9f9-531c0b578ad5" providerId="ADAL" clId="{AD4CB57C-B35A-4CF8-8CD6-6BBA11FC110D}" dt="2020-12-05T17:57:41.187" v="1428" actId="1076"/>
          <ac:spMkLst>
            <pc:docMk/>
            <pc:sldMk cId="3145321926" sldId="271"/>
            <ac:spMk id="89" creationId="{24FFC47B-4596-48E5-B378-C258F7F3F6F5}"/>
          </ac:spMkLst>
        </pc:spChg>
        <pc:spChg chg="add mod">
          <ac:chgData name="Yaguchi, Yuki" userId="9e7febd7-de72-456b-b9f9-531c0b578ad5" providerId="ADAL" clId="{AD4CB57C-B35A-4CF8-8CD6-6BBA11FC110D}" dt="2020-12-05T17:49:08.132" v="1038" actId="20577"/>
          <ac:spMkLst>
            <pc:docMk/>
            <pc:sldMk cId="3145321926" sldId="271"/>
            <ac:spMk id="90" creationId="{DAC0203C-7B4D-4B9C-A042-B91F9D4D5DC3}"/>
          </ac:spMkLst>
        </pc:spChg>
        <pc:spChg chg="add del">
          <ac:chgData name="Yaguchi, Yuki" userId="9e7febd7-de72-456b-b9f9-531c0b578ad5" providerId="ADAL" clId="{AD4CB57C-B35A-4CF8-8CD6-6BBA11FC110D}" dt="2020-12-05T17:49:31.710" v="1042"/>
          <ac:spMkLst>
            <pc:docMk/>
            <pc:sldMk cId="3145321926" sldId="271"/>
            <ac:spMk id="91" creationId="{0DA84927-52DB-4953-BBEE-6ABE15351B33}"/>
          </ac:spMkLst>
        </pc:spChg>
        <pc:spChg chg="add mod">
          <ac:chgData name="Yaguchi, Yuki" userId="9e7febd7-de72-456b-b9f9-531c0b578ad5" providerId="ADAL" clId="{AD4CB57C-B35A-4CF8-8CD6-6BBA11FC110D}" dt="2020-12-05T17:49:36.487" v="1044" actId="1076"/>
          <ac:spMkLst>
            <pc:docMk/>
            <pc:sldMk cId="3145321926" sldId="271"/>
            <ac:spMk id="92" creationId="{A30F00B6-2047-46B5-8C31-DA71383E4AFB}"/>
          </ac:spMkLst>
        </pc:spChg>
        <pc:spChg chg="add del">
          <ac:chgData name="Yaguchi, Yuki" userId="9e7febd7-de72-456b-b9f9-531c0b578ad5" providerId="ADAL" clId="{AD4CB57C-B35A-4CF8-8CD6-6BBA11FC110D}" dt="2020-12-05T17:50:13.109" v="1059"/>
          <ac:spMkLst>
            <pc:docMk/>
            <pc:sldMk cId="3145321926" sldId="271"/>
            <ac:spMk id="93" creationId="{9C21B9E3-2643-44CB-90B2-48336F55B21F}"/>
          </ac:spMkLst>
        </pc:spChg>
        <pc:spChg chg="add mod">
          <ac:chgData name="Yaguchi, Yuki" userId="9e7febd7-de72-456b-b9f9-531c0b578ad5" providerId="ADAL" clId="{AD4CB57C-B35A-4CF8-8CD6-6BBA11FC110D}" dt="2020-12-05T17:51:07.364" v="1111" actId="20577"/>
          <ac:spMkLst>
            <pc:docMk/>
            <pc:sldMk cId="3145321926" sldId="271"/>
            <ac:spMk id="94" creationId="{BC050F31-83BE-4497-BCC2-141ACC39C51C}"/>
          </ac:spMkLst>
        </pc:spChg>
        <pc:spChg chg="add mod">
          <ac:chgData name="Yaguchi, Yuki" userId="9e7febd7-de72-456b-b9f9-531c0b578ad5" providerId="ADAL" clId="{AD4CB57C-B35A-4CF8-8CD6-6BBA11FC110D}" dt="2020-12-05T17:57:35.446" v="1425" actId="1035"/>
          <ac:spMkLst>
            <pc:docMk/>
            <pc:sldMk cId="3145321926" sldId="271"/>
            <ac:spMk id="95" creationId="{413F7D67-8AC4-47C7-B46A-A54DFC9F8972}"/>
          </ac:spMkLst>
        </pc:spChg>
        <pc:spChg chg="add mod">
          <ac:chgData name="Yaguchi, Yuki" userId="9e7febd7-de72-456b-b9f9-531c0b578ad5" providerId="ADAL" clId="{AD4CB57C-B35A-4CF8-8CD6-6BBA11FC110D}" dt="2020-12-05T17:53:48.081" v="1178" actId="164"/>
          <ac:spMkLst>
            <pc:docMk/>
            <pc:sldMk cId="3145321926" sldId="271"/>
            <ac:spMk id="102" creationId="{C0DF28B2-1E01-4933-9E25-6EC011D05586}"/>
          </ac:spMkLst>
        </pc:spChg>
        <pc:spChg chg="add mod">
          <ac:chgData name="Yaguchi, Yuki" userId="9e7febd7-de72-456b-b9f9-531c0b578ad5" providerId="ADAL" clId="{AD4CB57C-B35A-4CF8-8CD6-6BBA11FC110D}" dt="2020-12-05T17:57:39.487" v="1426" actId="1076"/>
          <ac:spMkLst>
            <pc:docMk/>
            <pc:sldMk cId="3145321926" sldId="271"/>
            <ac:spMk id="103" creationId="{68A33FCD-CA7C-4E84-B602-F3BC81600AA6}"/>
          </ac:spMkLst>
        </pc:spChg>
        <pc:spChg chg="add mod">
          <ac:chgData name="Yaguchi, Yuki" userId="9e7febd7-de72-456b-b9f9-531c0b578ad5" providerId="ADAL" clId="{AD4CB57C-B35A-4CF8-8CD6-6BBA11FC110D}" dt="2020-12-05T17:57:44.180" v="1429" actId="1076"/>
          <ac:spMkLst>
            <pc:docMk/>
            <pc:sldMk cId="3145321926" sldId="271"/>
            <ac:spMk id="104" creationId="{6BD23100-EE79-4682-A6EC-FDE0C8CC838D}"/>
          </ac:spMkLst>
        </pc:spChg>
        <pc:spChg chg="add mod">
          <ac:chgData name="Yaguchi, Yuki" userId="9e7febd7-de72-456b-b9f9-531c0b578ad5" providerId="ADAL" clId="{AD4CB57C-B35A-4CF8-8CD6-6BBA11FC110D}" dt="2020-12-05T17:58:09.166" v="1473" actId="20577"/>
          <ac:spMkLst>
            <pc:docMk/>
            <pc:sldMk cId="3145321926" sldId="271"/>
            <ac:spMk id="105" creationId="{C77AB881-33B0-45B8-A110-6FFC2586468F}"/>
          </ac:spMkLst>
        </pc:spChg>
        <pc:spChg chg="add mod">
          <ac:chgData name="Yaguchi, Yuki" userId="9e7febd7-de72-456b-b9f9-531c0b578ad5" providerId="ADAL" clId="{AD4CB57C-B35A-4CF8-8CD6-6BBA11FC110D}" dt="2020-12-05T17:54:27.801" v="1198" actId="1076"/>
          <ac:spMkLst>
            <pc:docMk/>
            <pc:sldMk cId="3145321926" sldId="271"/>
            <ac:spMk id="107" creationId="{B7A0D04F-E6E7-4402-B3F5-A9DB1F65869B}"/>
          </ac:spMkLst>
        </pc:spChg>
        <pc:spChg chg="add mod">
          <ac:chgData name="Yaguchi, Yuki" userId="9e7febd7-de72-456b-b9f9-531c0b578ad5" providerId="ADAL" clId="{AD4CB57C-B35A-4CF8-8CD6-6BBA11FC110D}" dt="2020-12-05T17:54:36.726" v="1204" actId="20577"/>
          <ac:spMkLst>
            <pc:docMk/>
            <pc:sldMk cId="3145321926" sldId="271"/>
            <ac:spMk id="108" creationId="{E20E70F4-F7A2-4A3F-A36F-560767CBD4CD}"/>
          </ac:spMkLst>
        </pc:spChg>
        <pc:spChg chg="add mod">
          <ac:chgData name="Yaguchi, Yuki" userId="9e7febd7-de72-456b-b9f9-531c0b578ad5" providerId="ADAL" clId="{AD4CB57C-B35A-4CF8-8CD6-6BBA11FC110D}" dt="2020-12-05T17:54:42.050" v="1206" actId="1076"/>
          <ac:spMkLst>
            <pc:docMk/>
            <pc:sldMk cId="3145321926" sldId="271"/>
            <ac:spMk id="109" creationId="{F5FF9D95-62F7-4154-B754-0B4918321F83}"/>
          </ac:spMkLst>
        </pc:spChg>
        <pc:spChg chg="add mod">
          <ac:chgData name="Yaguchi, Yuki" userId="9e7febd7-de72-456b-b9f9-531c0b578ad5" providerId="ADAL" clId="{AD4CB57C-B35A-4CF8-8CD6-6BBA11FC110D}" dt="2020-12-05T17:55:27.209" v="1211" actId="1076"/>
          <ac:spMkLst>
            <pc:docMk/>
            <pc:sldMk cId="3145321926" sldId="271"/>
            <ac:spMk id="110" creationId="{A35A3E30-91E2-461E-A4E0-2ABA79AAC9A5}"/>
          </ac:spMkLst>
        </pc:spChg>
        <pc:spChg chg="add mod">
          <ac:chgData name="Yaguchi, Yuki" userId="9e7febd7-de72-456b-b9f9-531c0b578ad5" providerId="ADAL" clId="{AD4CB57C-B35A-4CF8-8CD6-6BBA11FC110D}" dt="2020-12-05T17:57:35.446" v="1425" actId="1035"/>
          <ac:spMkLst>
            <pc:docMk/>
            <pc:sldMk cId="3145321926" sldId="271"/>
            <ac:spMk id="111" creationId="{2A2F134C-15D6-4B8F-BA40-715103E945FB}"/>
          </ac:spMkLst>
        </pc:spChg>
        <pc:spChg chg="add mod">
          <ac:chgData name="Yaguchi, Yuki" userId="9e7febd7-de72-456b-b9f9-531c0b578ad5" providerId="ADAL" clId="{AD4CB57C-B35A-4CF8-8CD6-6BBA11FC110D}" dt="2020-12-05T17:57:48.507" v="1431" actId="1076"/>
          <ac:spMkLst>
            <pc:docMk/>
            <pc:sldMk cId="3145321926" sldId="271"/>
            <ac:spMk id="112" creationId="{5547C13F-B6AE-4737-89B5-83D55FE88638}"/>
          </ac:spMkLst>
        </pc:spChg>
        <pc:spChg chg="add mod">
          <ac:chgData name="Yaguchi, Yuki" userId="9e7febd7-de72-456b-b9f9-531c0b578ad5" providerId="ADAL" clId="{AD4CB57C-B35A-4CF8-8CD6-6BBA11FC110D}" dt="2020-12-05T17:57:46.348" v="1430" actId="1076"/>
          <ac:spMkLst>
            <pc:docMk/>
            <pc:sldMk cId="3145321926" sldId="271"/>
            <ac:spMk id="113" creationId="{47258DD5-9385-4AF8-9C17-F5E4373390F9}"/>
          </ac:spMkLst>
        </pc:spChg>
        <pc:spChg chg="add mod">
          <ac:chgData name="Yaguchi, Yuki" userId="9e7febd7-de72-456b-b9f9-531c0b578ad5" providerId="ADAL" clId="{AD4CB57C-B35A-4CF8-8CD6-6BBA11FC110D}" dt="2020-12-05T18:13:14.524" v="2407"/>
          <ac:spMkLst>
            <pc:docMk/>
            <pc:sldMk cId="3145321926" sldId="271"/>
            <ac:spMk id="115" creationId="{2F160279-0717-4B08-B99D-72D7147AE38D}"/>
          </ac:spMkLst>
        </pc:spChg>
        <pc:spChg chg="add mod">
          <ac:chgData name="Yaguchi, Yuki" userId="9e7febd7-de72-456b-b9f9-531c0b578ad5" providerId="ADAL" clId="{AD4CB57C-B35A-4CF8-8CD6-6BBA11FC110D}" dt="2020-12-05T17:59:08.398" v="1525" actId="1076"/>
          <ac:spMkLst>
            <pc:docMk/>
            <pc:sldMk cId="3145321926" sldId="271"/>
            <ac:spMk id="120" creationId="{DB6D1DF5-8030-485E-A747-80D34784D123}"/>
          </ac:spMkLst>
        </pc:spChg>
        <pc:spChg chg="add mod">
          <ac:chgData name="Yaguchi, Yuki" userId="9e7febd7-de72-456b-b9f9-531c0b578ad5" providerId="ADAL" clId="{AD4CB57C-B35A-4CF8-8CD6-6BBA11FC110D}" dt="2020-12-05T17:59:20.480" v="1530" actId="14100"/>
          <ac:spMkLst>
            <pc:docMk/>
            <pc:sldMk cId="3145321926" sldId="271"/>
            <ac:spMk id="121" creationId="{C6103FAC-FB25-4813-92D9-92812518F61B}"/>
          </ac:spMkLst>
        </pc:spChg>
        <pc:spChg chg="add del mod">
          <ac:chgData name="Yaguchi, Yuki" userId="9e7febd7-de72-456b-b9f9-531c0b578ad5" providerId="ADAL" clId="{AD4CB57C-B35A-4CF8-8CD6-6BBA11FC110D}" dt="2020-12-05T17:59:31.393" v="1533" actId="478"/>
          <ac:spMkLst>
            <pc:docMk/>
            <pc:sldMk cId="3145321926" sldId="271"/>
            <ac:spMk id="122" creationId="{F047D0CB-8CFD-4567-AB5E-870622B34A53}"/>
          </ac:spMkLst>
        </pc:spChg>
        <pc:spChg chg="add del">
          <ac:chgData name="Yaguchi, Yuki" userId="9e7febd7-de72-456b-b9f9-531c0b578ad5" providerId="ADAL" clId="{AD4CB57C-B35A-4CF8-8CD6-6BBA11FC110D}" dt="2020-12-05T17:59:37.513" v="1535"/>
          <ac:spMkLst>
            <pc:docMk/>
            <pc:sldMk cId="3145321926" sldId="271"/>
            <ac:spMk id="123" creationId="{B08C62D6-6AB7-430C-A808-08EC5E18CA6B}"/>
          </ac:spMkLst>
        </pc:spChg>
        <pc:spChg chg="add mod">
          <ac:chgData name="Yaguchi, Yuki" userId="9e7febd7-de72-456b-b9f9-531c0b578ad5" providerId="ADAL" clId="{AD4CB57C-B35A-4CF8-8CD6-6BBA11FC110D}" dt="2020-12-05T18:01:23.114" v="1698" actId="242"/>
          <ac:spMkLst>
            <pc:docMk/>
            <pc:sldMk cId="3145321926" sldId="271"/>
            <ac:spMk id="124" creationId="{437A2383-5328-4EA5-968D-D76B17A2C3EA}"/>
          </ac:spMkLst>
        </pc:spChg>
        <pc:grpChg chg="del">
          <ac:chgData name="Yaguchi, Yuki" userId="9e7febd7-de72-456b-b9f9-531c0b578ad5" providerId="ADAL" clId="{AD4CB57C-B35A-4CF8-8CD6-6BBA11FC110D}" dt="2020-12-05T17:30:26.250" v="261" actId="478"/>
          <ac:grpSpMkLst>
            <pc:docMk/>
            <pc:sldMk cId="3145321926" sldId="271"/>
            <ac:grpSpMk id="12" creationId="{EC6B1CD4-57DD-4796-BA13-7AAEBA5C6FBB}"/>
          </ac:grpSpMkLst>
        </pc:grpChg>
        <pc:grpChg chg="add mod">
          <ac:chgData name="Yaguchi, Yuki" userId="9e7febd7-de72-456b-b9f9-531c0b578ad5" providerId="ADAL" clId="{AD4CB57C-B35A-4CF8-8CD6-6BBA11FC110D}" dt="2020-12-05T17:33:38.752" v="307" actId="1076"/>
          <ac:grpSpMkLst>
            <pc:docMk/>
            <pc:sldMk cId="3145321926" sldId="271"/>
            <ac:grpSpMk id="14" creationId="{0357D73C-11CB-4327-A9C9-C358D61FDBA7}"/>
          </ac:grpSpMkLst>
        </pc:grpChg>
        <pc:grpChg chg="add mod">
          <ac:chgData name="Yaguchi, Yuki" userId="9e7febd7-de72-456b-b9f9-531c0b578ad5" providerId="ADAL" clId="{AD4CB57C-B35A-4CF8-8CD6-6BBA11FC110D}" dt="2020-12-05T17:39:13.522" v="556" actId="1076"/>
          <ac:grpSpMkLst>
            <pc:docMk/>
            <pc:sldMk cId="3145321926" sldId="271"/>
            <ac:grpSpMk id="20" creationId="{0F920116-1AD9-4FF1-AABA-0B9E70921ADB}"/>
          </ac:grpSpMkLst>
        </pc:grpChg>
        <pc:grpChg chg="add mod">
          <ac:chgData name="Yaguchi, Yuki" userId="9e7febd7-de72-456b-b9f9-531c0b578ad5" providerId="ADAL" clId="{AD4CB57C-B35A-4CF8-8CD6-6BBA11FC110D}" dt="2020-12-05T17:49:29.829" v="1040" actId="14100"/>
          <ac:grpSpMkLst>
            <pc:docMk/>
            <pc:sldMk cId="3145321926" sldId="271"/>
            <ac:grpSpMk id="37" creationId="{E4941536-0BCB-4D42-A7CD-265416A355F5}"/>
          </ac:grpSpMkLst>
        </pc:grpChg>
        <pc:grpChg chg="add mod ord">
          <ac:chgData name="Yaguchi, Yuki" userId="9e7febd7-de72-456b-b9f9-531c0b578ad5" providerId="ADAL" clId="{AD4CB57C-B35A-4CF8-8CD6-6BBA11FC110D}" dt="2020-12-05T17:53:34.799" v="1177" actId="1076"/>
          <ac:grpSpMkLst>
            <pc:docMk/>
            <pc:sldMk cId="3145321926" sldId="271"/>
            <ac:grpSpMk id="45" creationId="{14CA7EC3-943F-43DC-9889-F76DB050DE3F}"/>
          </ac:grpSpMkLst>
        </pc:grpChg>
        <pc:grpChg chg="add mod">
          <ac:chgData name="Yaguchi, Yuki" userId="9e7febd7-de72-456b-b9f9-531c0b578ad5" providerId="ADAL" clId="{AD4CB57C-B35A-4CF8-8CD6-6BBA11FC110D}" dt="2020-12-05T17:40:56.130" v="688" actId="1076"/>
          <ac:grpSpMkLst>
            <pc:docMk/>
            <pc:sldMk cId="3145321926" sldId="271"/>
            <ac:grpSpMk id="47" creationId="{1A0FE03B-EF53-47D7-8AE0-ACE3B6D6A76E}"/>
          </ac:grpSpMkLst>
        </pc:grpChg>
        <pc:grpChg chg="add mod">
          <ac:chgData name="Yaguchi, Yuki" userId="9e7febd7-de72-456b-b9f9-531c0b578ad5" providerId="ADAL" clId="{AD4CB57C-B35A-4CF8-8CD6-6BBA11FC110D}" dt="2020-12-05T17:57:35.446" v="1425" actId="1035"/>
          <ac:grpSpMkLst>
            <pc:docMk/>
            <pc:sldMk cId="3145321926" sldId="271"/>
            <ac:grpSpMk id="61" creationId="{698A4F11-65CF-4C11-A66E-01C2BE701DEA}"/>
          </ac:grpSpMkLst>
        </pc:grpChg>
        <pc:grpChg chg="add mod">
          <ac:chgData name="Yaguchi, Yuki" userId="9e7febd7-de72-456b-b9f9-531c0b578ad5" providerId="ADAL" clId="{AD4CB57C-B35A-4CF8-8CD6-6BBA11FC110D}" dt="2020-12-05T17:47:44.767" v="970" actId="1076"/>
          <ac:grpSpMkLst>
            <pc:docMk/>
            <pc:sldMk cId="3145321926" sldId="271"/>
            <ac:grpSpMk id="75" creationId="{4B7674F1-4D18-4805-85CB-137D16F3C504}"/>
          </ac:grpSpMkLst>
        </pc:grpChg>
        <pc:grpChg chg="add mod">
          <ac:chgData name="Yaguchi, Yuki" userId="9e7febd7-de72-456b-b9f9-531c0b578ad5" providerId="ADAL" clId="{AD4CB57C-B35A-4CF8-8CD6-6BBA11FC110D}" dt="2020-12-05T17:47:53.220" v="974" actId="1076"/>
          <ac:grpSpMkLst>
            <pc:docMk/>
            <pc:sldMk cId="3145321926" sldId="271"/>
            <ac:grpSpMk id="81" creationId="{CCDD6EE7-7795-466B-8A02-7B3A9B0B67AB}"/>
          </ac:grpSpMkLst>
        </pc:grpChg>
        <pc:grpChg chg="add mod">
          <ac:chgData name="Yaguchi, Yuki" userId="9e7febd7-de72-456b-b9f9-531c0b578ad5" providerId="ADAL" clId="{AD4CB57C-B35A-4CF8-8CD6-6BBA11FC110D}" dt="2020-12-05T17:51:46.597" v="1117" actId="1076"/>
          <ac:grpSpMkLst>
            <pc:docMk/>
            <pc:sldMk cId="3145321926" sldId="271"/>
            <ac:grpSpMk id="96" creationId="{B1282B5E-2425-41BD-999D-EF1F5F65EB8D}"/>
          </ac:grpSpMkLst>
        </pc:grpChg>
        <pc:picChg chg="del">
          <ac:chgData name="Yaguchi, Yuki" userId="9e7febd7-de72-456b-b9f9-531c0b578ad5" providerId="ADAL" clId="{AD4CB57C-B35A-4CF8-8CD6-6BBA11FC110D}" dt="2020-12-05T17:16:32.953" v="249" actId="478"/>
          <ac:picMkLst>
            <pc:docMk/>
            <pc:sldMk cId="3145321926" sldId="271"/>
            <ac:picMk id="1026" creationId="{03BA58A5-77B5-4EE5-9B7A-1EE9893C32EC}"/>
          </ac:picMkLst>
        </pc:picChg>
        <pc:picChg chg="del mod">
          <ac:chgData name="Yaguchi, Yuki" userId="9e7febd7-de72-456b-b9f9-531c0b578ad5" providerId="ADAL" clId="{AD4CB57C-B35A-4CF8-8CD6-6BBA11FC110D}" dt="2020-12-05T17:16:28.588" v="245" actId="478"/>
          <ac:picMkLst>
            <pc:docMk/>
            <pc:sldMk cId="3145321926" sldId="271"/>
            <ac:picMk id="1028" creationId="{618D0B9E-46A5-439B-9B41-D26006F1382E}"/>
          </ac:picMkLst>
        </pc:picChg>
        <pc:cxnChg chg="add del mod">
          <ac:chgData name="Yaguchi, Yuki" userId="9e7febd7-de72-456b-b9f9-531c0b578ad5" providerId="ADAL" clId="{AD4CB57C-B35A-4CF8-8CD6-6BBA11FC110D}" dt="2020-12-05T17:58:38.048" v="1519" actId="11529"/>
          <ac:cxnSpMkLst>
            <pc:docMk/>
            <pc:sldMk cId="3145321926" sldId="271"/>
            <ac:cxnSpMk id="114" creationId="{CE21A165-DFA0-442A-A5FB-127457BBE505}"/>
          </ac:cxnSpMkLst>
        </pc:cxnChg>
        <pc:cxnChg chg="add mod">
          <ac:chgData name="Yaguchi, Yuki" userId="9e7febd7-de72-456b-b9f9-531c0b578ad5" providerId="ADAL" clId="{AD4CB57C-B35A-4CF8-8CD6-6BBA11FC110D}" dt="2020-12-05T17:58:51.619" v="1523" actId="693"/>
          <ac:cxnSpMkLst>
            <pc:docMk/>
            <pc:sldMk cId="3145321926" sldId="271"/>
            <ac:cxnSpMk id="117" creationId="{680A1ED4-E8EE-4DC1-A413-60F432C8F678}"/>
          </ac:cxnSpMkLst>
        </pc:cxnChg>
      </pc:sldChg>
      <pc:sldChg chg="add del">
        <pc:chgData name="Yaguchi, Yuki" userId="9e7febd7-de72-456b-b9f9-531c0b578ad5" providerId="ADAL" clId="{AD4CB57C-B35A-4CF8-8CD6-6BBA11FC110D}" dt="2020-12-05T18:26:36.327" v="2752" actId="2696"/>
        <pc:sldMkLst>
          <pc:docMk/>
          <pc:sldMk cId="3684401471" sldId="272"/>
        </pc:sldMkLst>
      </pc:sldChg>
      <pc:sldChg chg="add del">
        <pc:chgData name="Yaguchi, Yuki" userId="9e7febd7-de72-456b-b9f9-531c0b578ad5" providerId="ADAL" clId="{AD4CB57C-B35A-4CF8-8CD6-6BBA11FC110D}" dt="2020-12-05T18:26:36.349" v="2753" actId="2696"/>
        <pc:sldMkLst>
          <pc:docMk/>
          <pc:sldMk cId="2344896379" sldId="280"/>
        </pc:sldMkLst>
      </pc:sldChg>
      <pc:sldChg chg="add del">
        <pc:chgData name="Yaguchi, Yuki" userId="9e7febd7-de72-456b-b9f9-531c0b578ad5" providerId="ADAL" clId="{AD4CB57C-B35A-4CF8-8CD6-6BBA11FC110D}" dt="2020-12-05T18:26:36.372" v="2754" actId="2696"/>
        <pc:sldMkLst>
          <pc:docMk/>
          <pc:sldMk cId="1411864146" sldId="283"/>
        </pc:sldMkLst>
      </pc:sldChg>
      <pc:sldChg chg="add del">
        <pc:chgData name="Yaguchi, Yuki" userId="9e7febd7-de72-456b-b9f9-531c0b578ad5" providerId="ADAL" clId="{AD4CB57C-B35A-4CF8-8CD6-6BBA11FC110D}" dt="2020-12-05T18:26:36.391" v="2755" actId="2696"/>
        <pc:sldMkLst>
          <pc:docMk/>
          <pc:sldMk cId="2142131203" sldId="284"/>
        </pc:sldMkLst>
      </pc:sldChg>
      <pc:sldChg chg="add del">
        <pc:chgData name="Yaguchi, Yuki" userId="9e7febd7-de72-456b-b9f9-531c0b578ad5" providerId="ADAL" clId="{AD4CB57C-B35A-4CF8-8CD6-6BBA11FC110D}" dt="2020-12-05T18:26:36.595" v="2763" actId="2696"/>
        <pc:sldMkLst>
          <pc:docMk/>
          <pc:sldMk cId="4118574293" sldId="285"/>
        </pc:sldMkLst>
      </pc:sldChg>
      <pc:sldChg chg="add del">
        <pc:chgData name="Yaguchi, Yuki" userId="9e7febd7-de72-456b-b9f9-531c0b578ad5" providerId="ADAL" clId="{AD4CB57C-B35A-4CF8-8CD6-6BBA11FC110D}" dt="2020-12-05T18:26:36.625" v="2765" actId="2696"/>
        <pc:sldMkLst>
          <pc:docMk/>
          <pc:sldMk cId="1115051053" sldId="287"/>
        </pc:sldMkLst>
      </pc:sldChg>
      <pc:sldChg chg="addSp modSp add del">
        <pc:chgData name="Yaguchi, Yuki" userId="9e7febd7-de72-456b-b9f9-531c0b578ad5" providerId="ADAL" clId="{AD4CB57C-B35A-4CF8-8CD6-6BBA11FC110D}" dt="2020-12-05T18:26:36.302" v="2751" actId="2696"/>
        <pc:sldMkLst>
          <pc:docMk/>
          <pc:sldMk cId="3138719779" sldId="290"/>
        </pc:sldMkLst>
        <pc:spChg chg="add mod">
          <ac:chgData name="Yaguchi, Yuki" userId="9e7febd7-de72-456b-b9f9-531c0b578ad5" providerId="ADAL" clId="{AD4CB57C-B35A-4CF8-8CD6-6BBA11FC110D}" dt="2020-12-05T17:15:21.016" v="171"/>
          <ac:spMkLst>
            <pc:docMk/>
            <pc:sldMk cId="3138719779" sldId="290"/>
            <ac:spMk id="2" creationId="{34638030-348E-4E29-B03C-AB80230A20E5}"/>
          </ac:spMkLst>
        </pc:spChg>
      </pc:sldChg>
      <pc:sldChg chg="add del">
        <pc:chgData name="Yaguchi, Yuki" userId="9e7febd7-de72-456b-b9f9-531c0b578ad5" providerId="ADAL" clId="{AD4CB57C-B35A-4CF8-8CD6-6BBA11FC110D}" dt="2020-12-05T18:26:36.641" v="2766" actId="2696"/>
        <pc:sldMkLst>
          <pc:docMk/>
          <pc:sldMk cId="1546598484" sldId="293"/>
        </pc:sldMkLst>
      </pc:sldChg>
      <pc:sldChg chg="modSp">
        <pc:chgData name="Yaguchi, Yuki" userId="9e7febd7-de72-456b-b9f9-531c0b578ad5" providerId="ADAL" clId="{AD4CB57C-B35A-4CF8-8CD6-6BBA11FC110D}" dt="2020-12-05T18:27:07.976" v="2816" actId="20577"/>
        <pc:sldMkLst>
          <pc:docMk/>
          <pc:sldMk cId="1299102547" sldId="298"/>
        </pc:sldMkLst>
        <pc:spChg chg="mod">
          <ac:chgData name="Yaguchi, Yuki" userId="9e7febd7-de72-456b-b9f9-531c0b578ad5" providerId="ADAL" clId="{AD4CB57C-B35A-4CF8-8CD6-6BBA11FC110D}" dt="2020-12-05T18:27:07.976" v="2816" actId="20577"/>
          <ac:spMkLst>
            <pc:docMk/>
            <pc:sldMk cId="1299102547" sldId="298"/>
            <ac:spMk id="3" creationId="{F40226FB-7070-42AB-88C9-0B960F8A48A3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562" v="2761" actId="2696"/>
        <pc:sldMkLst>
          <pc:docMk/>
          <pc:sldMk cId="67278282" sldId="301"/>
        </pc:sldMkLst>
        <pc:spChg chg="add mod">
          <ac:chgData name="Yaguchi, Yuki" userId="9e7febd7-de72-456b-b9f9-531c0b578ad5" providerId="ADAL" clId="{AD4CB57C-B35A-4CF8-8CD6-6BBA11FC110D}" dt="2020-12-05T17:15:20.264" v="86"/>
          <ac:spMkLst>
            <pc:docMk/>
            <pc:sldMk cId="67278282" sldId="301"/>
            <ac:spMk id="6" creationId="{B4C24A30-D67F-482F-A103-96DFDCECA019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584" v="2762" actId="2696"/>
        <pc:sldMkLst>
          <pc:docMk/>
          <pc:sldMk cId="1380645947" sldId="302"/>
        </pc:sldMkLst>
        <pc:spChg chg="add mod">
          <ac:chgData name="Yaguchi, Yuki" userId="9e7febd7-de72-456b-b9f9-531c0b578ad5" providerId="ADAL" clId="{AD4CB57C-B35A-4CF8-8CD6-6BBA11FC110D}" dt="2020-12-05T17:15:20.153" v="77"/>
          <ac:spMkLst>
            <pc:docMk/>
            <pc:sldMk cId="1380645947" sldId="302"/>
            <ac:spMk id="18" creationId="{4D838036-492E-4413-B149-877F17337176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494" v="2759" actId="2696"/>
        <pc:sldMkLst>
          <pc:docMk/>
          <pc:sldMk cId="3894283639" sldId="304"/>
        </pc:sldMkLst>
        <pc:spChg chg="add mod">
          <ac:chgData name="Yaguchi, Yuki" userId="9e7febd7-de72-456b-b9f9-531c0b578ad5" providerId="ADAL" clId="{AD4CB57C-B35A-4CF8-8CD6-6BBA11FC110D}" dt="2020-12-05T17:15:20.424" v="104"/>
          <ac:spMkLst>
            <pc:docMk/>
            <pc:sldMk cId="3894283639" sldId="304"/>
            <ac:spMk id="3" creationId="{010D2DC0-1E02-4ABE-9ECF-2C858958AAD5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526" v="2760" actId="2696"/>
        <pc:sldMkLst>
          <pc:docMk/>
          <pc:sldMk cId="2941967337" sldId="305"/>
        </pc:sldMkLst>
        <pc:spChg chg="add mod">
          <ac:chgData name="Yaguchi, Yuki" userId="9e7febd7-de72-456b-b9f9-531c0b578ad5" providerId="ADAL" clId="{AD4CB57C-B35A-4CF8-8CD6-6BBA11FC110D}" dt="2020-12-05T17:15:20.340" v="95"/>
          <ac:spMkLst>
            <pc:docMk/>
            <pc:sldMk cId="2941967337" sldId="305"/>
            <ac:spMk id="3" creationId="{FF415B5E-2D86-4B8C-8474-0DFFFC70FCE6}"/>
          </ac:spMkLst>
        </pc:spChg>
      </pc:sldChg>
      <pc:sldChg chg="add del">
        <pc:chgData name="Yaguchi, Yuki" userId="9e7febd7-de72-456b-b9f9-531c0b578ad5" providerId="ADAL" clId="{AD4CB57C-B35A-4CF8-8CD6-6BBA11FC110D}" dt="2020-12-05T18:26:36.407" v="2756" actId="2696"/>
        <pc:sldMkLst>
          <pc:docMk/>
          <pc:sldMk cId="2292756438" sldId="306"/>
        </pc:sldMkLst>
      </pc:sldChg>
      <pc:sldChg chg="addSp modSp add del">
        <pc:chgData name="Yaguchi, Yuki" userId="9e7febd7-de72-456b-b9f9-531c0b578ad5" providerId="ADAL" clId="{AD4CB57C-B35A-4CF8-8CD6-6BBA11FC110D}" dt="2020-12-05T18:26:36.466" v="2758" actId="2696"/>
        <pc:sldMkLst>
          <pc:docMk/>
          <pc:sldMk cId="1226155513" sldId="316"/>
        </pc:sldMkLst>
        <pc:spChg chg="add mod">
          <ac:chgData name="Yaguchi, Yuki" userId="9e7febd7-de72-456b-b9f9-531c0b578ad5" providerId="ADAL" clId="{AD4CB57C-B35A-4CF8-8CD6-6BBA11FC110D}" dt="2020-12-05T17:15:20.491" v="113"/>
          <ac:spMkLst>
            <pc:docMk/>
            <pc:sldMk cId="1226155513" sldId="316"/>
            <ac:spMk id="12" creationId="{6E7D1F28-E24A-4CB3-B07A-7869E11A76DB}"/>
          </ac:spMkLst>
        </pc:spChg>
      </pc:sldChg>
      <pc:sldChg chg="modSp">
        <pc:chgData name="Yaguchi, Yuki" userId="9e7febd7-de72-456b-b9f9-531c0b578ad5" providerId="ADAL" clId="{AD4CB57C-B35A-4CF8-8CD6-6BBA11FC110D}" dt="2020-12-05T17:15:44.444" v="220" actId="20577"/>
        <pc:sldMkLst>
          <pc:docMk/>
          <pc:sldMk cId="1945467717" sldId="317"/>
        </pc:sldMkLst>
        <pc:spChg chg="mod">
          <ac:chgData name="Yaguchi, Yuki" userId="9e7febd7-de72-456b-b9f9-531c0b578ad5" providerId="ADAL" clId="{AD4CB57C-B35A-4CF8-8CD6-6BBA11FC110D}" dt="2020-12-05T17:15:44.444" v="220" actId="20577"/>
          <ac:spMkLst>
            <pc:docMk/>
            <pc:sldMk cId="1945467717" sldId="317"/>
            <ac:spMk id="9" creationId="{B0AAEFB1-18A8-4DE6-9E19-C835D37DC5AD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438" v="2757" actId="2696"/>
        <pc:sldMkLst>
          <pc:docMk/>
          <pc:sldMk cId="1698347234" sldId="318"/>
        </pc:sldMkLst>
        <pc:spChg chg="add mod">
          <ac:chgData name="Yaguchi, Yuki" userId="9e7febd7-de72-456b-b9f9-531c0b578ad5" providerId="ADAL" clId="{AD4CB57C-B35A-4CF8-8CD6-6BBA11FC110D}" dt="2020-12-05T17:15:20.570" v="122"/>
          <ac:spMkLst>
            <pc:docMk/>
            <pc:sldMk cId="1698347234" sldId="318"/>
            <ac:spMk id="2" creationId="{A4DD946E-F456-473E-88E7-09B54F77C289}"/>
          </ac:spMkLst>
        </pc:spChg>
      </pc:sldChg>
      <pc:sldChg chg="modSp">
        <pc:chgData name="Yaguchi, Yuki" userId="9e7febd7-de72-456b-b9f9-531c0b578ad5" providerId="ADAL" clId="{AD4CB57C-B35A-4CF8-8CD6-6BBA11FC110D}" dt="2020-12-05T18:27:04.121" v="2812" actId="20577"/>
        <pc:sldMkLst>
          <pc:docMk/>
          <pc:sldMk cId="3854227752" sldId="319"/>
        </pc:sldMkLst>
        <pc:spChg chg="mod">
          <ac:chgData name="Yaguchi, Yuki" userId="9e7febd7-de72-456b-b9f9-531c0b578ad5" providerId="ADAL" clId="{AD4CB57C-B35A-4CF8-8CD6-6BBA11FC110D}" dt="2020-12-05T18:26:43.631" v="2789" actId="20577"/>
          <ac:spMkLst>
            <pc:docMk/>
            <pc:sldMk cId="3854227752" sldId="319"/>
            <ac:spMk id="2" creationId="{BB0E7196-978D-4F9B-9709-67C2EE523949}"/>
          </ac:spMkLst>
        </pc:spChg>
        <pc:spChg chg="mod">
          <ac:chgData name="Yaguchi, Yuki" userId="9e7febd7-de72-456b-b9f9-531c0b578ad5" providerId="ADAL" clId="{AD4CB57C-B35A-4CF8-8CD6-6BBA11FC110D}" dt="2020-12-05T18:27:04.121" v="2812" actId="20577"/>
          <ac:spMkLst>
            <pc:docMk/>
            <pc:sldMk cId="3854227752" sldId="319"/>
            <ac:spMk id="3" creationId="{7E8C892A-0698-4EA5-B736-48B2F014CD37}"/>
          </ac:spMkLst>
        </pc:spChg>
      </pc:sldChg>
      <pc:sldChg chg="addSp modSp add del">
        <pc:chgData name="Yaguchi, Yuki" userId="9e7febd7-de72-456b-b9f9-531c0b578ad5" providerId="ADAL" clId="{AD4CB57C-B35A-4CF8-8CD6-6BBA11FC110D}" dt="2020-12-05T18:26:36.610" v="2764" actId="2696"/>
        <pc:sldMkLst>
          <pc:docMk/>
          <pc:sldMk cId="1148289682" sldId="320"/>
        </pc:sldMkLst>
        <pc:spChg chg="add mod">
          <ac:chgData name="Yaguchi, Yuki" userId="9e7febd7-de72-456b-b9f9-531c0b578ad5" providerId="ADAL" clId="{AD4CB57C-B35A-4CF8-8CD6-6BBA11FC110D}" dt="2020-12-05T17:15:20.014" v="60"/>
          <ac:spMkLst>
            <pc:docMk/>
            <pc:sldMk cId="1148289682" sldId="320"/>
            <ac:spMk id="2" creationId="{8EE653C8-A5B7-4C00-88AE-E22199BAB660}"/>
          </ac:spMkLst>
        </pc:spChg>
      </pc:sldChg>
      <pc:sldChg chg="add del">
        <pc:chgData name="Yaguchi, Yuki" userId="9e7febd7-de72-456b-b9f9-531c0b578ad5" providerId="ADAL" clId="{AD4CB57C-B35A-4CF8-8CD6-6BBA11FC110D}" dt="2020-12-05T18:26:36.674" v="2767" actId="2696"/>
        <pc:sldMkLst>
          <pc:docMk/>
          <pc:sldMk cId="668644337" sldId="321"/>
        </pc:sldMkLst>
      </pc:sldChg>
      <pc:sldChg chg="add del">
        <pc:chgData name="Yaguchi, Yuki" userId="9e7febd7-de72-456b-b9f9-531c0b578ad5" providerId="ADAL" clId="{AD4CB57C-B35A-4CF8-8CD6-6BBA11FC110D}" dt="2020-12-05T18:26:36.276" v="2750" actId="2696"/>
        <pc:sldMkLst>
          <pc:docMk/>
          <pc:sldMk cId="1153835296" sldId="322"/>
        </pc:sldMkLst>
      </pc:sldChg>
      <pc:sldChg chg="addSp delSp modSp add">
        <pc:chgData name="Yaguchi, Yuki" userId="9e7febd7-de72-456b-b9f9-531c0b578ad5" providerId="ADAL" clId="{AD4CB57C-B35A-4CF8-8CD6-6BBA11FC110D}" dt="2020-12-05T18:38:24.266" v="2850" actId="313"/>
        <pc:sldMkLst>
          <pc:docMk/>
          <pc:sldMk cId="3223501995" sldId="323"/>
        </pc:sldMkLst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7" creationId="{61D75854-4415-4E17-AEAB-9E0A9330A693}"/>
          </ac:spMkLst>
        </pc:spChg>
        <pc:spChg chg="mod">
          <ac:chgData name="Yaguchi, Yuki" userId="9e7febd7-de72-456b-b9f9-531c0b578ad5" providerId="ADAL" clId="{AD4CB57C-B35A-4CF8-8CD6-6BBA11FC110D}" dt="2020-12-05T18:01:53.712" v="1762" actId="20577"/>
          <ac:spMkLst>
            <pc:docMk/>
            <pc:sldMk cId="3223501995" sldId="323"/>
            <ac:spMk id="8" creationId="{8877635F-823A-4ABD-B484-DE8588AA46A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" creationId="{E7FB5E50-C110-4645-8045-906AD0D3E313}"/>
          </ac:spMkLst>
        </pc:spChg>
        <pc:spChg chg="add mod">
          <ac:chgData name="Yaguchi, Yuki" userId="9e7febd7-de72-456b-b9f9-531c0b578ad5" providerId="ADAL" clId="{AD4CB57C-B35A-4CF8-8CD6-6BBA11FC110D}" dt="2020-12-05T18:09:15.252" v="2405" actId="1076"/>
          <ac:spMkLst>
            <pc:docMk/>
            <pc:sldMk cId="3223501995" sldId="323"/>
            <ac:spMk id="11" creationId="{BA88F4A1-D1EA-4BB3-BEF7-C19666C514F6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36" creationId="{949C1BAC-E1AF-4842-A4C7-431168FB9C94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44" creationId="{24C009A9-940D-4226-96E3-F00415B1A58D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46" creationId="{5EF5A04A-4329-4C5F-A8B1-B5DBE47C849F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4" creationId="{61FFCF64-BE59-4FD4-88D9-876E67372C29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5" creationId="{FF035B74-720A-4EBA-ABA2-41D034780A79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6" creationId="{300BE465-19DF-4E6A-AE00-B648FDFC4F8E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59" creationId="{9259D7E4-1AD4-4581-A087-C4ED7A9B170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0" creationId="{3BD99CDE-6CE6-451E-9589-5060FA553EF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2" creationId="{32A4CE61-7143-4B28-A387-83097975B94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3" creationId="{3B87171A-2363-4AB8-9D32-85F1EEC1BE6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5" creationId="{C1F255B2-CE5E-463F-B469-E08F8D900E9F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66" creationId="{1CF9105A-41A7-47DF-B52B-D7C8B99A6D5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74" creationId="{47E6BD76-35F9-4CA1-BD24-34D98CB191FA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87" creationId="{FD6B039C-D7CC-4D97-B95F-1361242B5170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88" creationId="{D7216B4F-B5B0-44BF-9D82-BBF64FF63F0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89" creationId="{24FFC47B-4596-48E5-B378-C258F7F3F6F5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0" creationId="{DAC0203C-7B4D-4B9C-A042-B91F9D4D5DC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2" creationId="{A30F00B6-2047-46B5-8C31-DA71383E4AF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4" creationId="{BC050F31-83BE-4497-BCC2-141ACC39C51C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95" creationId="{413F7D67-8AC4-47C7-B46A-A54DFC9F8972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5" creationId="{C77AB881-33B0-45B8-A110-6FFC2586468F}"/>
          </ac:spMkLst>
        </pc:spChg>
        <pc:spChg chg="add mod">
          <ac:chgData name="Yaguchi, Yuki" userId="9e7febd7-de72-456b-b9f9-531c0b578ad5" providerId="ADAL" clId="{AD4CB57C-B35A-4CF8-8CD6-6BBA11FC110D}" dt="2020-12-05T18:07:33.736" v="2191" actId="121"/>
          <ac:spMkLst>
            <pc:docMk/>
            <pc:sldMk cId="3223501995" sldId="323"/>
            <ac:spMk id="106" creationId="{6611B5F1-DACD-4BEB-B573-FB763F52EF4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7" creationId="{B7A0D04F-E6E7-4402-B3F5-A9DB1F65869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8" creationId="{E20E70F4-F7A2-4A3F-A36F-560767CBD4CD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09" creationId="{F5FF9D95-62F7-4154-B754-0B4918321F8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0" creationId="{A35A3E30-91E2-461E-A4E0-2ABA79AAC9A5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1" creationId="{2A2F134C-15D6-4B8F-BA40-715103E945FB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2" creationId="{5547C13F-B6AE-4737-89B5-83D55FE8863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3" creationId="{47258DD5-9385-4AF8-9C17-F5E4373390F9}"/>
          </ac:spMkLst>
        </pc:spChg>
        <pc:spChg chg="add mod">
          <ac:chgData name="Yaguchi, Yuki" userId="9e7febd7-de72-456b-b9f9-531c0b578ad5" providerId="ADAL" clId="{AD4CB57C-B35A-4CF8-8CD6-6BBA11FC110D}" dt="2020-12-05T18:16:39.941" v="2512" actId="113"/>
          <ac:spMkLst>
            <pc:docMk/>
            <pc:sldMk cId="3223501995" sldId="323"/>
            <ac:spMk id="114" creationId="{61BA0CB8-5A54-4818-A649-4629B4CFDF5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15" creationId="{2F160279-0717-4B08-B99D-72D7147AE38D}"/>
          </ac:spMkLst>
        </pc:spChg>
        <pc:spChg chg="add mod">
          <ac:chgData name="Yaguchi, Yuki" userId="9e7febd7-de72-456b-b9f9-531c0b578ad5" providerId="ADAL" clId="{AD4CB57C-B35A-4CF8-8CD6-6BBA11FC110D}" dt="2020-12-05T18:20:45.918" v="2612" actId="108"/>
          <ac:spMkLst>
            <pc:docMk/>
            <pc:sldMk cId="3223501995" sldId="323"/>
            <ac:spMk id="116" creationId="{027BB08F-16CC-41DF-9B93-489E76EDFFA2}"/>
          </ac:spMkLst>
        </pc:spChg>
        <pc:spChg chg="add mod">
          <ac:chgData name="Yaguchi, Yuki" userId="9e7febd7-de72-456b-b9f9-531c0b578ad5" providerId="ADAL" clId="{AD4CB57C-B35A-4CF8-8CD6-6BBA11FC110D}" dt="2020-12-05T18:20:57.635" v="2613" actId="108"/>
          <ac:spMkLst>
            <pc:docMk/>
            <pc:sldMk cId="3223501995" sldId="323"/>
            <ac:spMk id="118" creationId="{A34DCAC0-9654-419B-877A-B67B1D3A1911}"/>
          </ac:spMkLst>
        </pc:spChg>
        <pc:spChg chg="add mod">
          <ac:chgData name="Yaguchi, Yuki" userId="9e7febd7-de72-456b-b9f9-531c0b578ad5" providerId="ADAL" clId="{AD4CB57C-B35A-4CF8-8CD6-6BBA11FC110D}" dt="2020-12-05T18:21:00.175" v="2614" actId="108"/>
          <ac:spMkLst>
            <pc:docMk/>
            <pc:sldMk cId="3223501995" sldId="323"/>
            <ac:spMk id="119" creationId="{8F0E5D87-765A-42A8-BFE0-7BF2E9EEC118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20" creationId="{DB6D1DF5-8030-485E-A747-80D34784D123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21" creationId="{C6103FAC-FB25-4813-92D9-92812518F61B}"/>
          </ac:spMkLst>
        </pc:spChg>
        <pc:spChg chg="add mod">
          <ac:chgData name="Yaguchi, Yuki" userId="9e7febd7-de72-456b-b9f9-531c0b578ad5" providerId="ADAL" clId="{AD4CB57C-B35A-4CF8-8CD6-6BBA11FC110D}" dt="2020-12-05T18:19:28.451" v="2564" actId="20577"/>
          <ac:spMkLst>
            <pc:docMk/>
            <pc:sldMk cId="3223501995" sldId="323"/>
            <ac:spMk id="122" creationId="{D5485B06-88BD-41A4-8C03-6079FD4CD269}"/>
          </ac:spMkLst>
        </pc:spChg>
        <pc:spChg chg="add mod">
          <ac:chgData name="Yaguchi, Yuki" userId="9e7febd7-de72-456b-b9f9-531c0b578ad5" providerId="ADAL" clId="{AD4CB57C-B35A-4CF8-8CD6-6BBA11FC110D}" dt="2020-12-05T18:24:00.273" v="2661" actId="108"/>
          <ac:spMkLst>
            <pc:docMk/>
            <pc:sldMk cId="3223501995" sldId="323"/>
            <ac:spMk id="123" creationId="{280497EC-025D-48B3-A4F9-A258B164BD79}"/>
          </ac:spMkLst>
        </pc:spChg>
        <pc:spChg chg="del">
          <ac:chgData name="Yaguchi, Yuki" userId="9e7febd7-de72-456b-b9f9-531c0b578ad5" providerId="ADAL" clId="{AD4CB57C-B35A-4CF8-8CD6-6BBA11FC110D}" dt="2020-12-05T18:02:09.557" v="1763" actId="478"/>
          <ac:spMkLst>
            <pc:docMk/>
            <pc:sldMk cId="3223501995" sldId="323"/>
            <ac:spMk id="124" creationId="{437A2383-5328-4EA5-968D-D76B17A2C3EA}"/>
          </ac:spMkLst>
        </pc:spChg>
        <pc:spChg chg="add mod">
          <ac:chgData name="Yaguchi, Yuki" userId="9e7febd7-de72-456b-b9f9-531c0b578ad5" providerId="ADAL" clId="{AD4CB57C-B35A-4CF8-8CD6-6BBA11FC110D}" dt="2020-12-05T18:24:02.635" v="2662" actId="108"/>
          <ac:spMkLst>
            <pc:docMk/>
            <pc:sldMk cId="3223501995" sldId="323"/>
            <ac:spMk id="125" creationId="{7E54B60E-AA79-4104-9067-E97B4DEC743E}"/>
          </ac:spMkLst>
        </pc:spChg>
        <pc:spChg chg="add mod">
          <ac:chgData name="Yaguchi, Yuki" userId="9e7febd7-de72-456b-b9f9-531c0b578ad5" providerId="ADAL" clId="{AD4CB57C-B35A-4CF8-8CD6-6BBA11FC110D}" dt="2020-12-05T18:22:59.194" v="2656" actId="108"/>
          <ac:spMkLst>
            <pc:docMk/>
            <pc:sldMk cId="3223501995" sldId="323"/>
            <ac:spMk id="126" creationId="{FC71C9D4-47B6-4DC4-9458-E69FB8C926C9}"/>
          </ac:spMkLst>
        </pc:spChg>
        <pc:spChg chg="add mod">
          <ac:chgData name="Yaguchi, Yuki" userId="9e7febd7-de72-456b-b9f9-531c0b578ad5" providerId="ADAL" clId="{AD4CB57C-B35A-4CF8-8CD6-6BBA11FC110D}" dt="2020-12-05T18:23:08.929" v="2657" actId="108"/>
          <ac:spMkLst>
            <pc:docMk/>
            <pc:sldMk cId="3223501995" sldId="323"/>
            <ac:spMk id="127" creationId="{0D816E86-FC4E-462B-929D-9187A4402007}"/>
          </ac:spMkLst>
        </pc:spChg>
        <pc:spChg chg="add mod">
          <ac:chgData name="Yaguchi, Yuki" userId="9e7febd7-de72-456b-b9f9-531c0b578ad5" providerId="ADAL" clId="{AD4CB57C-B35A-4CF8-8CD6-6BBA11FC110D}" dt="2020-12-05T18:23:11.647" v="2658" actId="108"/>
          <ac:spMkLst>
            <pc:docMk/>
            <pc:sldMk cId="3223501995" sldId="323"/>
            <ac:spMk id="128" creationId="{647A8098-A986-4272-ADCB-C2B1FF1B360A}"/>
          </ac:spMkLst>
        </pc:spChg>
        <pc:spChg chg="add mod">
          <ac:chgData name="Yaguchi, Yuki" userId="9e7febd7-de72-456b-b9f9-531c0b578ad5" providerId="ADAL" clId="{AD4CB57C-B35A-4CF8-8CD6-6BBA11FC110D}" dt="2020-12-05T18:24:05.512" v="2663" actId="108"/>
          <ac:spMkLst>
            <pc:docMk/>
            <pc:sldMk cId="3223501995" sldId="323"/>
            <ac:spMk id="129" creationId="{92B38C06-C7EF-4C23-962A-BA9723161368}"/>
          </ac:spMkLst>
        </pc:spChg>
        <pc:spChg chg="add mod">
          <ac:chgData name="Yaguchi, Yuki" userId="9e7febd7-de72-456b-b9f9-531c0b578ad5" providerId="ADAL" clId="{AD4CB57C-B35A-4CF8-8CD6-6BBA11FC110D}" dt="2020-12-05T18:24:15.799" v="2665" actId="108"/>
          <ac:spMkLst>
            <pc:docMk/>
            <pc:sldMk cId="3223501995" sldId="323"/>
            <ac:spMk id="130" creationId="{01C81C44-20D3-4136-8F78-F08D02F45DB2}"/>
          </ac:spMkLst>
        </pc:spChg>
        <pc:spChg chg="add mod">
          <ac:chgData name="Yaguchi, Yuki" userId="9e7febd7-de72-456b-b9f9-531c0b578ad5" providerId="ADAL" clId="{AD4CB57C-B35A-4CF8-8CD6-6BBA11FC110D}" dt="2020-12-05T18:24:18.365" v="2666" actId="108"/>
          <ac:spMkLst>
            <pc:docMk/>
            <pc:sldMk cId="3223501995" sldId="323"/>
            <ac:spMk id="131" creationId="{572F1B5D-62B1-481A-BD5B-885DCE6D4FFD}"/>
          </ac:spMkLst>
        </pc:spChg>
        <pc:spChg chg="add mod">
          <ac:chgData name="Yaguchi, Yuki" userId="9e7febd7-de72-456b-b9f9-531c0b578ad5" providerId="ADAL" clId="{AD4CB57C-B35A-4CF8-8CD6-6BBA11FC110D}" dt="2020-12-05T18:24:21.431" v="2667" actId="108"/>
          <ac:spMkLst>
            <pc:docMk/>
            <pc:sldMk cId="3223501995" sldId="323"/>
            <ac:spMk id="132" creationId="{BB30776B-845F-4ECE-B5BF-7245A36A0852}"/>
          </ac:spMkLst>
        </pc:spChg>
        <pc:spChg chg="add mod">
          <ac:chgData name="Yaguchi, Yuki" userId="9e7febd7-de72-456b-b9f9-531c0b578ad5" providerId="ADAL" clId="{AD4CB57C-B35A-4CF8-8CD6-6BBA11FC110D}" dt="2020-12-05T18:23:20.662" v="2660" actId="108"/>
          <ac:spMkLst>
            <pc:docMk/>
            <pc:sldMk cId="3223501995" sldId="323"/>
            <ac:spMk id="133" creationId="{131C5FD5-0D2B-4011-83EB-DC05E6111295}"/>
          </ac:spMkLst>
        </pc:spChg>
        <pc:spChg chg="add mod">
          <ac:chgData name="Yaguchi, Yuki" userId="9e7febd7-de72-456b-b9f9-531c0b578ad5" providerId="ADAL" clId="{AD4CB57C-B35A-4CF8-8CD6-6BBA11FC110D}" dt="2020-12-05T18:25:12.478" v="2702" actId="1076"/>
          <ac:spMkLst>
            <pc:docMk/>
            <pc:sldMk cId="3223501995" sldId="323"/>
            <ac:spMk id="134" creationId="{3F30F381-2338-4BAC-9C77-29EDB432394E}"/>
          </ac:spMkLst>
        </pc:s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20" creationId="{0F920116-1AD9-4FF1-AABA-0B9E70921ADB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37" creationId="{E4941536-0BCB-4D42-A7CD-265416A355F5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45" creationId="{14CA7EC3-943F-43DC-9889-F76DB050DE3F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47" creationId="{1A0FE03B-EF53-47D7-8AE0-ACE3B6D6A76E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61" creationId="{698A4F11-65CF-4C11-A66E-01C2BE701DEA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75" creationId="{4B7674F1-4D18-4805-85CB-137D16F3C504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81" creationId="{CCDD6EE7-7795-466B-8A02-7B3A9B0B67AB}"/>
          </ac:grpSpMkLst>
        </pc:grpChg>
        <pc:grpChg chg="del">
          <ac:chgData name="Yaguchi, Yuki" userId="9e7febd7-de72-456b-b9f9-531c0b578ad5" providerId="ADAL" clId="{AD4CB57C-B35A-4CF8-8CD6-6BBA11FC110D}" dt="2020-12-05T18:02:09.557" v="1763" actId="478"/>
          <ac:grpSpMkLst>
            <pc:docMk/>
            <pc:sldMk cId="3223501995" sldId="323"/>
            <ac:grpSpMk id="96" creationId="{B1282B5E-2425-41BD-999D-EF1F5F65EB8D}"/>
          </ac:grpSpMkLst>
        </pc:grpChg>
        <pc:graphicFrameChg chg="add mod modGraphic">
          <ac:chgData name="Yaguchi, Yuki" userId="9e7febd7-de72-456b-b9f9-531c0b578ad5" providerId="ADAL" clId="{AD4CB57C-B35A-4CF8-8CD6-6BBA11FC110D}" dt="2020-12-05T18:38:24.266" v="2850" actId="313"/>
          <ac:graphicFrameMkLst>
            <pc:docMk/>
            <pc:sldMk cId="3223501995" sldId="323"/>
            <ac:graphicFrameMk id="2" creationId="{35688385-5A49-4516-8DE8-F60974D1435E}"/>
          </ac:graphicFrameMkLst>
        </pc:graphicFrameChg>
        <pc:cxnChg chg="del">
          <ac:chgData name="Yaguchi, Yuki" userId="9e7febd7-de72-456b-b9f9-531c0b578ad5" providerId="ADAL" clId="{AD4CB57C-B35A-4CF8-8CD6-6BBA11FC110D}" dt="2020-12-05T18:02:09.557" v="1763" actId="478"/>
          <ac:cxnSpMkLst>
            <pc:docMk/>
            <pc:sldMk cId="3223501995" sldId="323"/>
            <ac:cxnSpMk id="117" creationId="{680A1ED4-E8EE-4DC1-A413-60F432C8F678}"/>
          </ac:cxnSpMkLst>
        </pc:cxnChg>
      </pc:sldChg>
      <pc:sldMasterChg chg="modSldLayout">
        <pc:chgData name="Yaguchi, Yuki" userId="9e7febd7-de72-456b-b9f9-531c0b578ad5" providerId="ADAL" clId="{AD4CB57C-B35A-4CF8-8CD6-6BBA11FC110D}" dt="2020-12-05T18:01:37.066" v="1707"/>
        <pc:sldMasterMkLst>
          <pc:docMk/>
          <pc:sldMasterMk cId="1943259863" sldId="2147483648"/>
        </pc:sldMasterMkLst>
        <pc:sldLayoutChg chg="addSp delSp modSp">
          <pc:chgData name="Yaguchi, Yuki" userId="9e7febd7-de72-456b-b9f9-531c0b578ad5" providerId="ADAL" clId="{AD4CB57C-B35A-4CF8-8CD6-6BBA11FC110D}" dt="2020-12-05T18:01:37.066" v="1707"/>
          <pc:sldLayoutMkLst>
            <pc:docMk/>
            <pc:sldMasterMk cId="1943259863" sldId="2147483648"/>
            <pc:sldLayoutMk cId="3112444112" sldId="2147483650"/>
          </pc:sldLayoutMkLst>
          <pc:spChg chg="del">
            <ac:chgData name="Yaguchi, Yuki" userId="9e7febd7-de72-456b-b9f9-531c0b578ad5" providerId="ADAL" clId="{AD4CB57C-B35A-4CF8-8CD6-6BBA11FC110D}" dt="2020-12-05T17:15:19.776" v="36"/>
            <ac:spMkLst>
              <pc:docMk/>
              <pc:sldMasterMk cId="1943259863" sldId="2147483648"/>
              <pc:sldLayoutMk cId="3112444112" sldId="2147483650"/>
              <ac:spMk id="8" creationId="{ED3664E7-B079-41D4-83C6-60C9290D24D4}"/>
            </ac:spMkLst>
          </pc:spChg>
          <pc:spChg chg="add del mod modVis">
            <ac:chgData name="Yaguchi, Yuki" userId="9e7febd7-de72-456b-b9f9-531c0b578ad5" providerId="ADAL" clId="{AD4CB57C-B35A-4CF8-8CD6-6BBA11FC110D}" dt="2020-12-05T17:15:19.878" v="44"/>
            <ac:spMkLst>
              <pc:docMk/>
              <pc:sldMasterMk cId="1943259863" sldId="2147483648"/>
              <pc:sldLayoutMk cId="3112444112" sldId="2147483650"/>
              <ac:spMk id="9" creationId="{27238A5D-2662-46DB-87CF-4C4C365AB5CB}"/>
            </ac:spMkLst>
          </pc:spChg>
          <pc:spChg chg="add del mod modVis">
            <ac:chgData name="Yaguchi, Yuki" userId="9e7febd7-de72-456b-b9f9-531c0b578ad5" providerId="ADAL" clId="{AD4CB57C-B35A-4CF8-8CD6-6BBA11FC110D}" dt="2020-12-05T17:15:19.950" v="52"/>
            <ac:spMkLst>
              <pc:docMk/>
              <pc:sldMasterMk cId="1943259863" sldId="2147483648"/>
              <pc:sldLayoutMk cId="3112444112" sldId="2147483650"/>
              <ac:spMk id="10" creationId="{443F92D8-77A1-4351-BDAC-36F4CA74B6F3}"/>
            </ac:spMkLst>
          </pc:spChg>
          <pc:spChg chg="add del mod modVis">
            <ac:chgData name="Yaguchi, Yuki" userId="9e7febd7-de72-456b-b9f9-531c0b578ad5" providerId="ADAL" clId="{AD4CB57C-B35A-4CF8-8CD6-6BBA11FC110D}" dt="2020-12-05T17:15:20.019" v="61"/>
            <ac:spMkLst>
              <pc:docMk/>
              <pc:sldMasterMk cId="1943259863" sldId="2147483648"/>
              <pc:sldLayoutMk cId="3112444112" sldId="2147483650"/>
              <ac:spMk id="11" creationId="{99829699-A2A7-4510-8AF9-42D5273C29B4}"/>
            </ac:spMkLst>
          </pc:spChg>
          <pc:spChg chg="add del mod modVis">
            <ac:chgData name="Yaguchi, Yuki" userId="9e7febd7-de72-456b-b9f9-531c0b578ad5" providerId="ADAL" clId="{AD4CB57C-B35A-4CF8-8CD6-6BBA11FC110D}" dt="2020-12-05T17:15:20.082" v="69"/>
            <ac:spMkLst>
              <pc:docMk/>
              <pc:sldMasterMk cId="1943259863" sldId="2147483648"/>
              <pc:sldLayoutMk cId="3112444112" sldId="2147483650"/>
              <ac:spMk id="12" creationId="{6A03AC6C-4864-4439-8264-138143A18711}"/>
            </ac:spMkLst>
          </pc:spChg>
          <pc:spChg chg="add del mod modVis">
            <ac:chgData name="Yaguchi, Yuki" userId="9e7febd7-de72-456b-b9f9-531c0b578ad5" providerId="ADAL" clId="{AD4CB57C-B35A-4CF8-8CD6-6BBA11FC110D}" dt="2020-12-05T17:15:20.158" v="78"/>
            <ac:spMkLst>
              <pc:docMk/>
              <pc:sldMasterMk cId="1943259863" sldId="2147483648"/>
              <pc:sldLayoutMk cId="3112444112" sldId="2147483650"/>
              <ac:spMk id="13" creationId="{2A9FC6A6-8BC0-4939-AFC9-11AD7EB98E6C}"/>
            </ac:spMkLst>
          </pc:spChg>
          <pc:spChg chg="add del mod modVis">
            <ac:chgData name="Yaguchi, Yuki" userId="9e7febd7-de72-456b-b9f9-531c0b578ad5" providerId="ADAL" clId="{AD4CB57C-B35A-4CF8-8CD6-6BBA11FC110D}" dt="2020-12-05T17:15:20.270" v="87"/>
            <ac:spMkLst>
              <pc:docMk/>
              <pc:sldMasterMk cId="1943259863" sldId="2147483648"/>
              <pc:sldLayoutMk cId="3112444112" sldId="2147483650"/>
              <ac:spMk id="14" creationId="{D335FE0F-0C00-4EB5-BCC7-9FA5408BB645}"/>
            </ac:spMkLst>
          </pc:spChg>
          <pc:spChg chg="add del mod modVis">
            <ac:chgData name="Yaguchi, Yuki" userId="9e7febd7-de72-456b-b9f9-531c0b578ad5" providerId="ADAL" clId="{AD4CB57C-B35A-4CF8-8CD6-6BBA11FC110D}" dt="2020-12-05T17:15:20.345" v="96"/>
            <ac:spMkLst>
              <pc:docMk/>
              <pc:sldMasterMk cId="1943259863" sldId="2147483648"/>
              <pc:sldLayoutMk cId="3112444112" sldId="2147483650"/>
              <ac:spMk id="15" creationId="{534AE70A-09FE-4016-A6AF-D01E5EE0109E}"/>
            </ac:spMkLst>
          </pc:spChg>
          <pc:spChg chg="add del mod modVis">
            <ac:chgData name="Yaguchi, Yuki" userId="9e7febd7-de72-456b-b9f9-531c0b578ad5" providerId="ADAL" clId="{AD4CB57C-B35A-4CF8-8CD6-6BBA11FC110D}" dt="2020-12-05T17:15:20.430" v="105"/>
            <ac:spMkLst>
              <pc:docMk/>
              <pc:sldMasterMk cId="1943259863" sldId="2147483648"/>
              <pc:sldLayoutMk cId="3112444112" sldId="2147483650"/>
              <ac:spMk id="16" creationId="{E3E9B8EF-B599-4138-A5D6-91735CDC0A3B}"/>
            </ac:spMkLst>
          </pc:spChg>
          <pc:spChg chg="add del mod modVis">
            <ac:chgData name="Yaguchi, Yuki" userId="9e7febd7-de72-456b-b9f9-531c0b578ad5" providerId="ADAL" clId="{AD4CB57C-B35A-4CF8-8CD6-6BBA11FC110D}" dt="2020-12-05T17:15:20.497" v="114"/>
            <ac:spMkLst>
              <pc:docMk/>
              <pc:sldMasterMk cId="1943259863" sldId="2147483648"/>
              <pc:sldLayoutMk cId="3112444112" sldId="2147483650"/>
              <ac:spMk id="17" creationId="{1B159E28-2596-4A19-AA9E-2BFED65833EE}"/>
            </ac:spMkLst>
          </pc:spChg>
          <pc:spChg chg="add del mod modVis">
            <ac:chgData name="Yaguchi, Yuki" userId="9e7febd7-de72-456b-b9f9-531c0b578ad5" providerId="ADAL" clId="{AD4CB57C-B35A-4CF8-8CD6-6BBA11FC110D}" dt="2020-12-05T17:15:20.575" v="123"/>
            <ac:spMkLst>
              <pc:docMk/>
              <pc:sldMasterMk cId="1943259863" sldId="2147483648"/>
              <pc:sldLayoutMk cId="3112444112" sldId="2147483650"/>
              <ac:spMk id="18" creationId="{25955E90-EB9F-4D8E-8375-A2EF6CEC3883}"/>
            </ac:spMkLst>
          </pc:spChg>
          <pc:spChg chg="add del mod modVis">
            <ac:chgData name="Yaguchi, Yuki" userId="9e7febd7-de72-456b-b9f9-531c0b578ad5" providerId="ADAL" clId="{AD4CB57C-B35A-4CF8-8CD6-6BBA11FC110D}" dt="2020-12-05T17:15:20.645" v="131"/>
            <ac:spMkLst>
              <pc:docMk/>
              <pc:sldMasterMk cId="1943259863" sldId="2147483648"/>
              <pc:sldLayoutMk cId="3112444112" sldId="2147483650"/>
              <ac:spMk id="19" creationId="{074BED7C-C7A9-40EB-B22E-28E1FD7D64BE}"/>
            </ac:spMkLst>
          </pc:spChg>
          <pc:spChg chg="add del mod modVis">
            <ac:chgData name="Yaguchi, Yuki" userId="9e7febd7-de72-456b-b9f9-531c0b578ad5" providerId="ADAL" clId="{AD4CB57C-B35A-4CF8-8CD6-6BBA11FC110D}" dt="2020-12-05T17:15:20.704" v="139"/>
            <ac:spMkLst>
              <pc:docMk/>
              <pc:sldMasterMk cId="1943259863" sldId="2147483648"/>
              <pc:sldLayoutMk cId="3112444112" sldId="2147483650"/>
              <ac:spMk id="20" creationId="{0FE04EF2-7DDB-4C24-9858-E4723CA900F6}"/>
            </ac:spMkLst>
          </pc:spChg>
          <pc:spChg chg="add del mod modVis">
            <ac:chgData name="Yaguchi, Yuki" userId="9e7febd7-de72-456b-b9f9-531c0b578ad5" providerId="ADAL" clId="{AD4CB57C-B35A-4CF8-8CD6-6BBA11FC110D}" dt="2020-12-05T17:15:20.782" v="147"/>
            <ac:spMkLst>
              <pc:docMk/>
              <pc:sldMasterMk cId="1943259863" sldId="2147483648"/>
              <pc:sldLayoutMk cId="3112444112" sldId="2147483650"/>
              <ac:spMk id="21" creationId="{AF16F0E6-8A71-4C0A-8B5F-F73777BE6520}"/>
            </ac:spMkLst>
          </pc:spChg>
          <pc:spChg chg="add del mod modVis">
            <ac:chgData name="Yaguchi, Yuki" userId="9e7febd7-de72-456b-b9f9-531c0b578ad5" providerId="ADAL" clId="{AD4CB57C-B35A-4CF8-8CD6-6BBA11FC110D}" dt="2020-12-05T17:15:20.865" v="155"/>
            <ac:spMkLst>
              <pc:docMk/>
              <pc:sldMasterMk cId="1943259863" sldId="2147483648"/>
              <pc:sldLayoutMk cId="3112444112" sldId="2147483650"/>
              <ac:spMk id="22" creationId="{227F4065-C5D1-40DC-A59A-29F2E40AEBF2}"/>
            </ac:spMkLst>
          </pc:spChg>
          <pc:spChg chg="add del mod modVis">
            <ac:chgData name="Yaguchi, Yuki" userId="9e7febd7-de72-456b-b9f9-531c0b578ad5" providerId="ADAL" clId="{AD4CB57C-B35A-4CF8-8CD6-6BBA11FC110D}" dt="2020-12-05T17:15:20.940" v="163"/>
            <ac:spMkLst>
              <pc:docMk/>
              <pc:sldMasterMk cId="1943259863" sldId="2147483648"/>
              <pc:sldLayoutMk cId="3112444112" sldId="2147483650"/>
              <ac:spMk id="23" creationId="{DF91B3B1-8783-41E4-A9B4-6B4ABFC67A46}"/>
            </ac:spMkLst>
          </pc:spChg>
          <pc:spChg chg="add del mod modVis">
            <ac:chgData name="Yaguchi, Yuki" userId="9e7febd7-de72-456b-b9f9-531c0b578ad5" providerId="ADAL" clId="{AD4CB57C-B35A-4CF8-8CD6-6BBA11FC110D}" dt="2020-12-05T17:15:21.021" v="172"/>
            <ac:spMkLst>
              <pc:docMk/>
              <pc:sldMasterMk cId="1943259863" sldId="2147483648"/>
              <pc:sldLayoutMk cId="3112444112" sldId="2147483650"/>
              <ac:spMk id="24" creationId="{6CACC9C0-69C2-45D7-8680-BB4DEB200DD4}"/>
            </ac:spMkLst>
          </pc:spChg>
          <pc:spChg chg="add del mod modVis">
            <ac:chgData name="Yaguchi, Yuki" userId="9e7febd7-de72-456b-b9f9-531c0b578ad5" providerId="ADAL" clId="{AD4CB57C-B35A-4CF8-8CD6-6BBA11FC110D}" dt="2020-12-05T17:15:21.088" v="180"/>
            <ac:spMkLst>
              <pc:docMk/>
              <pc:sldMasterMk cId="1943259863" sldId="2147483648"/>
              <pc:sldLayoutMk cId="3112444112" sldId="2147483650"/>
              <ac:spMk id="25" creationId="{668F9378-F8E1-4DE1-8D98-65D93A8A1E2D}"/>
            </ac:spMkLst>
          </pc:spChg>
          <pc:spChg chg="add del mod modVis">
            <ac:chgData name="Yaguchi, Yuki" userId="9e7febd7-de72-456b-b9f9-531c0b578ad5" providerId="ADAL" clId="{AD4CB57C-B35A-4CF8-8CD6-6BBA11FC110D}" dt="2020-12-05T17:16:04.941" v="232"/>
            <ac:spMkLst>
              <pc:docMk/>
              <pc:sldMasterMk cId="1943259863" sldId="2147483648"/>
              <pc:sldLayoutMk cId="3112444112" sldId="2147483650"/>
              <ac:spMk id="26" creationId="{7AA16600-EE70-49E7-BAD8-30B59C2AE186}"/>
            </ac:spMkLst>
          </pc:spChg>
          <pc:spChg chg="add del mod modVis">
            <ac:chgData name="Yaguchi, Yuki" userId="9e7febd7-de72-456b-b9f9-531c0b578ad5" providerId="ADAL" clId="{AD4CB57C-B35A-4CF8-8CD6-6BBA11FC110D}" dt="2020-12-05T18:01:37.045" v="1700"/>
            <ac:spMkLst>
              <pc:docMk/>
              <pc:sldMasterMk cId="1943259863" sldId="2147483648"/>
              <pc:sldLayoutMk cId="3112444112" sldId="2147483650"/>
              <ac:spMk id="27" creationId="{8D4EF059-32D7-434A-9876-D2CD9BC7F830}"/>
            </ac:spMkLst>
          </pc:spChg>
          <pc:spChg chg="add mod modVis">
            <ac:chgData name="Yaguchi, Yuki" userId="9e7febd7-de72-456b-b9f9-531c0b578ad5" providerId="ADAL" clId="{AD4CB57C-B35A-4CF8-8CD6-6BBA11FC110D}" dt="2020-12-05T18:01:37.066" v="1707"/>
            <ac:spMkLst>
              <pc:docMk/>
              <pc:sldMasterMk cId="1943259863" sldId="2147483648"/>
              <pc:sldLayoutMk cId="3112444112" sldId="2147483650"/>
              <ac:spMk id="28" creationId="{7785542B-E9EC-4D54-82DB-D9B5FD5C0DD1}"/>
            </ac:spMkLst>
          </pc:spChg>
        </pc:sldLayoutChg>
      </pc:sldMasterChg>
    </pc:docChg>
  </pc:docChgLst>
  <pc:docChgLst>
    <pc:chgData name="rhashimoto@hks.harvard.edu" userId="S::urn:spo:guest#rhashimoto@hks.harvard.edu::" providerId="AD" clId="Web-{55B77444-3864-23BD-A319-892EED651839}"/>
    <pc:docChg chg="addSld delSld modSld">
      <pc:chgData name="rhashimoto@hks.harvard.edu" userId="S::urn:spo:guest#rhashimoto@hks.harvard.edu::" providerId="AD" clId="Web-{55B77444-3864-23BD-A319-892EED651839}" dt="2020-12-07T19:05:49.074" v="1989" actId="20577"/>
      <pc:docMkLst>
        <pc:docMk/>
      </pc:docMkLst>
      <pc:sldChg chg="modSp">
        <pc:chgData name="rhashimoto@hks.harvard.edu" userId="S::urn:spo:guest#rhashimoto@hks.harvard.edu::" providerId="AD" clId="Web-{55B77444-3864-23BD-A319-892EED651839}" dt="2020-12-07T18:10:53.013" v="195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55B77444-3864-23BD-A319-892EED651839}" dt="2020-12-07T18:09:58.949" v="156" actId="20577"/>
          <ac:spMkLst>
            <pc:docMk/>
            <pc:sldMk cId="3952555209" sldId="324"/>
            <ac:spMk id="18" creationId="{637489A0-2E6F-4954-B9E7-43F7F30B60DF}"/>
          </ac:spMkLst>
        </pc:spChg>
        <pc:spChg chg="mod">
          <ac:chgData name="rhashimoto@hks.harvard.edu" userId="S::urn:spo:guest#rhashimoto@hks.harvard.edu::" providerId="AD" clId="Web-{55B77444-3864-23BD-A319-892EED651839}" dt="2020-12-07T18:09:56.168" v="155" actId="20577"/>
          <ac:spMkLst>
            <pc:docMk/>
            <pc:sldMk cId="3952555209" sldId="324"/>
            <ac:spMk id="40" creationId="{1471476D-57EA-4FAC-A540-8310A657EA39}"/>
          </ac:spMkLst>
        </pc:spChg>
        <pc:spChg chg="mod">
          <ac:chgData name="rhashimoto@hks.harvard.edu" userId="S::urn:spo:guest#rhashimoto@hks.harvard.edu::" providerId="AD" clId="Web-{55B77444-3864-23BD-A319-892EED651839}" dt="2020-12-07T18:09:49.933" v="153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55B77444-3864-23BD-A319-892EED651839}" dt="2020-12-07T18:10:05.027" v="159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55B77444-3864-23BD-A319-892EED651839}" dt="2020-12-07T18:10:10.559" v="161" actId="20577"/>
          <ac:spMkLst>
            <pc:docMk/>
            <pc:sldMk cId="3952555209" sldId="324"/>
            <ac:spMk id="43" creationId="{1323DFB1-7FB8-4025-92E2-FF5C602C7479}"/>
          </ac:spMkLst>
        </pc:spChg>
        <pc:spChg chg="mod">
          <ac:chgData name="rhashimoto@hks.harvard.edu" userId="S::urn:spo:guest#rhashimoto@hks.harvard.edu::" providerId="AD" clId="Web-{55B77444-3864-23BD-A319-892EED651839}" dt="2020-12-07T18:10:53.013" v="195" actId="20577"/>
          <ac:spMkLst>
            <pc:docMk/>
            <pc:sldMk cId="3952555209" sldId="324"/>
            <ac:spMk id="91" creationId="{282FC822-A632-4FB7-B9A0-82BDB7E226C7}"/>
          </ac:spMkLst>
        </pc:spChg>
        <pc:grpChg chg="mod">
          <ac:chgData name="rhashimoto@hks.harvard.edu" userId="S::urn:spo:guest#rhashimoto@hks.harvard.edu::" providerId="AD" clId="Web-{55B77444-3864-23BD-A319-892EED651839}" dt="2020-12-07T18:10:24.966" v="164" actId="1076"/>
          <ac:grpSpMkLst>
            <pc:docMk/>
            <pc:sldMk cId="3952555209" sldId="324"/>
            <ac:grpSpMk id="20" creationId="{0F920116-1AD9-4FF1-AABA-0B9E70921ADB}"/>
          </ac:grpSpMkLst>
        </pc:grpChg>
        <pc:grpChg chg="mod">
          <ac:chgData name="rhashimoto@hks.harvard.edu" userId="S::urn:spo:guest#rhashimoto@hks.harvard.edu::" providerId="AD" clId="Web-{55B77444-3864-23BD-A319-892EED651839}" dt="2020-12-07T18:10:25.012" v="165" actId="1076"/>
          <ac:grpSpMkLst>
            <pc:docMk/>
            <pc:sldMk cId="3952555209" sldId="324"/>
            <ac:grpSpMk id="47" creationId="{1A0FE03B-EF53-47D7-8AE0-ACE3B6D6A76E}"/>
          </ac:grpSpMkLst>
        </pc:grpChg>
      </pc:sldChg>
      <pc:sldChg chg="del">
        <pc:chgData name="rhashimoto@hks.harvard.edu" userId="S::urn:spo:guest#rhashimoto@hks.harvard.edu::" providerId="AD" clId="Web-{55B77444-3864-23BD-A319-892EED651839}" dt="2020-12-07T18:43:28.203" v="1769"/>
        <pc:sldMkLst>
          <pc:docMk/>
          <pc:sldMk cId="2974865944" sldId="326"/>
        </pc:sldMkLst>
      </pc:sldChg>
      <pc:sldChg chg="del">
        <pc:chgData name="rhashimoto@hks.harvard.edu" userId="S::urn:spo:guest#rhashimoto@hks.harvard.edu::" providerId="AD" clId="Web-{55B77444-3864-23BD-A319-892EED651839}" dt="2020-12-07T18:43:32.625" v="1770"/>
        <pc:sldMkLst>
          <pc:docMk/>
          <pc:sldMk cId="1799938795" sldId="327"/>
        </pc:sldMkLst>
      </pc:sldChg>
      <pc:sldChg chg="modSp">
        <pc:chgData name="rhashimoto@hks.harvard.edu" userId="S::urn:spo:guest#rhashimoto@hks.harvard.edu::" providerId="AD" clId="Web-{55B77444-3864-23BD-A319-892EED651839}" dt="2020-12-07T18:48:32.884" v="1911" actId="1076"/>
        <pc:sldMkLst>
          <pc:docMk/>
          <pc:sldMk cId="3261659482" sldId="331"/>
        </pc:sldMkLst>
        <pc:picChg chg="mod">
          <ac:chgData name="rhashimoto@hks.harvard.edu" userId="S::urn:spo:guest#rhashimoto@hks.harvard.edu::" providerId="AD" clId="Web-{55B77444-3864-23BD-A319-892EED651839}" dt="2020-12-07T18:48:32.884" v="1911" actId="1076"/>
          <ac:picMkLst>
            <pc:docMk/>
            <pc:sldMk cId="3261659482" sldId="331"/>
            <ac:picMk id="9" creationId="{F86C5572-A6AC-4E1D-A22D-9DE28CC6EEC3}"/>
          </ac:picMkLst>
        </pc:picChg>
      </pc:sldChg>
      <pc:sldChg chg="del">
        <pc:chgData name="rhashimoto@hks.harvard.edu" userId="S::urn:spo:guest#rhashimoto@hks.harvard.edu::" providerId="AD" clId="Web-{55B77444-3864-23BD-A319-892EED651839}" dt="2020-12-07T18:43:34.093" v="1771"/>
        <pc:sldMkLst>
          <pc:docMk/>
          <pc:sldMk cId="1681898784" sldId="332"/>
        </pc:sldMkLst>
      </pc:sldChg>
      <pc:sldChg chg="addSp delSp modSp add replId">
        <pc:chgData name="rhashimoto@hks.harvard.edu" userId="S::urn:spo:guest#rhashimoto@hks.harvard.edu::" providerId="AD" clId="Web-{55B77444-3864-23BD-A319-892EED651839}" dt="2020-12-07T18:42:29.154" v="1767" actId="20577"/>
        <pc:sldMkLst>
          <pc:docMk/>
          <pc:sldMk cId="2863280912" sldId="333"/>
        </pc:sldMkLst>
        <pc:spChg chg="mod">
          <ac:chgData name="rhashimoto@hks.harvard.edu" userId="S::urn:spo:guest#rhashimoto@hks.harvard.edu::" providerId="AD" clId="Web-{55B77444-3864-23BD-A319-892EED651839}" dt="2020-12-07T18:03:19.342" v="5" actId="20577"/>
          <ac:spMkLst>
            <pc:docMk/>
            <pc:sldMk cId="2863280912" sldId="333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8:42:29.154" v="1767" actId="20577"/>
          <ac:spMkLst>
            <pc:docMk/>
            <pc:sldMk cId="2863280912" sldId="333"/>
            <ac:spMk id="12" creationId="{84106720-FFD5-443F-9D03-3E3697554AC0}"/>
          </ac:spMkLst>
        </pc:spChg>
        <pc:spChg chg="mod">
          <ac:chgData name="rhashimoto@hks.harvard.edu" userId="S::urn:spo:guest#rhashimoto@hks.harvard.edu::" providerId="AD" clId="Web-{55B77444-3864-23BD-A319-892EED651839}" dt="2020-12-07T18:03:09.358" v="2"/>
          <ac:spMkLst>
            <pc:docMk/>
            <pc:sldMk cId="2863280912" sldId="333"/>
            <ac:spMk id="114" creationId="{0E815614-DED2-445B-A3E0-62391BEB252D}"/>
          </ac:spMkLst>
        </pc:spChg>
        <pc:spChg chg="mod">
          <ac:chgData name="rhashimoto@hks.harvard.edu" userId="S::urn:spo:guest#rhashimoto@hks.harvard.edu::" providerId="AD" clId="Web-{55B77444-3864-23BD-A319-892EED651839}" dt="2020-12-07T18:03:04.326" v="1"/>
          <ac:spMkLst>
            <pc:docMk/>
            <pc:sldMk cId="2863280912" sldId="333"/>
            <ac:spMk id="118" creationId="{D8F9319A-9FFE-433B-81BC-BB0EE12036FE}"/>
          </ac:spMkLst>
        </pc:spChg>
        <pc:picChg chg="add del mod">
          <ac:chgData name="rhashimoto@hks.harvard.edu" userId="S::urn:spo:guest#rhashimoto@hks.harvard.edu::" providerId="AD" clId="Web-{55B77444-3864-23BD-A319-892EED651839}" dt="2020-12-07T18:03:56.281" v="10"/>
          <ac:picMkLst>
            <pc:docMk/>
            <pc:sldMk cId="2863280912" sldId="333"/>
            <ac:picMk id="2" creationId="{26649A1E-F0B4-4E68-8285-008DEF3CB137}"/>
          </ac:picMkLst>
        </pc:picChg>
        <pc:picChg chg="add mod">
          <ac:chgData name="rhashimoto@hks.harvard.edu" userId="S::urn:spo:guest#rhashimoto@hks.harvard.edu::" providerId="AD" clId="Web-{55B77444-3864-23BD-A319-892EED651839}" dt="2020-12-07T18:04:47.501" v="17" actId="1076"/>
          <ac:picMkLst>
            <pc:docMk/>
            <pc:sldMk cId="2863280912" sldId="333"/>
            <ac:picMk id="3" creationId="{6D37A21E-AD6F-4E8D-A2E4-AF74BDC3B589}"/>
          </ac:picMkLst>
        </pc:picChg>
        <pc:picChg chg="del">
          <ac:chgData name="rhashimoto@hks.harvard.edu" userId="S::urn:spo:guest#rhashimoto@hks.harvard.edu::" providerId="AD" clId="Web-{55B77444-3864-23BD-A319-892EED651839}" dt="2020-12-07T18:03:20.123" v="7"/>
          <ac:picMkLst>
            <pc:docMk/>
            <pc:sldMk cId="2863280912" sldId="333"/>
            <ac:picMk id="9" creationId="{F86C5572-A6AC-4E1D-A22D-9DE28CC6EEC3}"/>
          </ac:picMkLst>
        </pc:picChg>
      </pc:sldChg>
      <pc:sldChg chg="addSp delSp modSp add replId">
        <pc:chgData name="rhashimoto@hks.harvard.edu" userId="S::urn:spo:guest#rhashimoto@hks.harvard.edu::" providerId="AD" clId="Web-{55B77444-3864-23BD-A319-892EED651839}" dt="2020-12-07T18:39:24.023" v="1566"/>
        <pc:sldMkLst>
          <pc:docMk/>
          <pc:sldMk cId="3748729337" sldId="334"/>
        </pc:sldMkLst>
        <pc:spChg chg="mod">
          <ac:chgData name="rhashimoto@hks.harvard.edu" userId="S::urn:spo:guest#rhashimoto@hks.harvard.edu::" providerId="AD" clId="Web-{55B77444-3864-23BD-A319-892EED651839}" dt="2020-12-07T18:37:36.410" v="1408" actId="20577"/>
          <ac:spMkLst>
            <pc:docMk/>
            <pc:sldMk cId="3748729337" sldId="334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8:39:00.319" v="1475" actId="20577"/>
          <ac:spMkLst>
            <pc:docMk/>
            <pc:sldMk cId="3748729337" sldId="334"/>
            <ac:spMk id="12" creationId="{84106720-FFD5-443F-9D03-3E3697554AC0}"/>
          </ac:spMkLst>
        </pc:spChg>
        <pc:graphicFrameChg chg="add del mod modGraphic">
          <ac:chgData name="rhashimoto@hks.harvard.edu" userId="S::urn:spo:guest#rhashimoto@hks.harvard.edu::" providerId="AD" clId="Web-{55B77444-3864-23BD-A319-892EED651839}" dt="2020-12-07T18:15:26.132" v="302"/>
          <ac:graphicFrameMkLst>
            <pc:docMk/>
            <pc:sldMk cId="3748729337" sldId="334"/>
            <ac:graphicFrameMk id="2" creationId="{17534BD7-B012-4F3D-849C-582D98DE5A94}"/>
          </ac:graphicFrameMkLst>
        </pc:graphicFrameChg>
        <pc:graphicFrameChg chg="add del mod modGraphic">
          <ac:chgData name="rhashimoto@hks.harvard.edu" userId="S::urn:spo:guest#rhashimoto@hks.harvard.edu::" providerId="AD" clId="Web-{55B77444-3864-23BD-A319-892EED651839}" dt="2020-12-07T18:15:20.053" v="299"/>
          <ac:graphicFrameMkLst>
            <pc:docMk/>
            <pc:sldMk cId="3748729337" sldId="334"/>
            <ac:graphicFrameMk id="9" creationId="{577955E4-97EB-4CE9-BF71-0B91C1C4331E}"/>
          </ac:graphicFrameMkLst>
        </pc:graphicFrameChg>
        <pc:graphicFrameChg chg="add del mod modGraphic">
          <ac:chgData name="rhashimoto@hks.harvard.edu" userId="S::urn:spo:guest#rhashimoto@hks.harvard.edu::" providerId="AD" clId="Web-{55B77444-3864-23BD-A319-892EED651839}" dt="2020-12-07T18:24:57.072" v="756"/>
          <ac:graphicFrameMkLst>
            <pc:docMk/>
            <pc:sldMk cId="3748729337" sldId="334"/>
            <ac:graphicFrameMk id="11" creationId="{66C1198F-343B-4D47-99CF-48ED82F42D95}"/>
          </ac:graphicFrameMkLst>
        </pc:graphicFrameChg>
        <pc:graphicFrameChg chg="add mod modGraphic">
          <ac:chgData name="rhashimoto@hks.harvard.edu" userId="S::urn:spo:guest#rhashimoto@hks.harvard.edu::" providerId="AD" clId="Web-{55B77444-3864-23BD-A319-892EED651839}" dt="2020-12-07T18:39:24.023" v="1566"/>
          <ac:graphicFrameMkLst>
            <pc:docMk/>
            <pc:sldMk cId="3748729337" sldId="334"/>
            <ac:graphicFrameMk id="14" creationId="{F12D65FC-FB00-4FB7-BFBC-1BD5C2F05019}"/>
          </ac:graphicFrameMkLst>
        </pc:graphicFrameChg>
        <pc:graphicFrameChg chg="add del mod">
          <ac:chgData name="rhashimoto@hks.harvard.edu" userId="S::urn:spo:guest#rhashimoto@hks.harvard.edu::" providerId="AD" clId="Web-{55B77444-3864-23BD-A319-892EED651839}" dt="2020-12-07T18:31:25.413" v="1052"/>
          <ac:graphicFrameMkLst>
            <pc:docMk/>
            <pc:sldMk cId="3748729337" sldId="334"/>
            <ac:graphicFrameMk id="16" creationId="{6CCEE152-33ED-43ED-BBBF-11F72932F282}"/>
          </ac:graphicFrameMkLst>
        </pc:graphicFrameChg>
        <pc:graphicFrameChg chg="add mod modGraphic">
          <ac:chgData name="rhashimoto@hks.harvard.edu" userId="S::urn:spo:guest#rhashimoto@hks.harvard.edu::" providerId="AD" clId="Web-{55B77444-3864-23BD-A319-892EED651839}" dt="2020-12-07T18:34:48.420" v="1228"/>
          <ac:graphicFrameMkLst>
            <pc:docMk/>
            <pc:sldMk cId="3748729337" sldId="334"/>
            <ac:graphicFrameMk id="19" creationId="{1A17FDC9-A1B8-4361-AB94-445022C44CAA}"/>
          </ac:graphicFrameMkLst>
        </pc:graphicFrameChg>
        <pc:picChg chg="del">
          <ac:chgData name="rhashimoto@hks.harvard.edu" userId="S::urn:spo:guest#rhashimoto@hks.harvard.edu::" providerId="AD" clId="Web-{55B77444-3864-23BD-A319-892EED651839}" dt="2020-12-07T18:05:20.721" v="19"/>
          <ac:picMkLst>
            <pc:docMk/>
            <pc:sldMk cId="3748729337" sldId="334"/>
            <ac:picMk id="3" creationId="{6D37A21E-AD6F-4E8D-A2E4-AF74BDC3B589}"/>
          </ac:picMkLst>
        </pc:picChg>
      </pc:sldChg>
      <pc:sldChg chg="modSp add replId">
        <pc:chgData name="rhashimoto@hks.harvard.edu" userId="S::urn:spo:guest#rhashimoto@hks.harvard.edu::" providerId="AD" clId="Web-{55B77444-3864-23BD-A319-892EED651839}" dt="2020-12-07T18:48:09.274" v="1908" actId="14100"/>
        <pc:sldMkLst>
          <pc:docMk/>
          <pc:sldMk cId="956095302" sldId="335"/>
        </pc:sldMkLst>
        <pc:spChg chg="mod">
          <ac:chgData name="rhashimoto@hks.harvard.edu" userId="S::urn:spo:guest#rhashimoto@hks.harvard.edu::" providerId="AD" clId="Web-{55B77444-3864-23BD-A319-892EED651839}" dt="2020-12-07T18:43:50.813" v="1784" actId="20577"/>
          <ac:spMkLst>
            <pc:docMk/>
            <pc:sldMk cId="956095302" sldId="335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8:47:56.508" v="1904" actId="20577"/>
          <ac:spMkLst>
            <pc:docMk/>
            <pc:sldMk cId="956095302" sldId="335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55B77444-3864-23BD-A319-892EED651839}" dt="2020-12-07T18:48:09.274" v="1908" actId="14100"/>
          <ac:picMkLst>
            <pc:docMk/>
            <pc:sldMk cId="956095302" sldId="335"/>
            <ac:picMk id="3" creationId="{6D37A21E-AD6F-4E8D-A2E4-AF74BDC3B589}"/>
          </ac:picMkLst>
        </pc:picChg>
      </pc:sldChg>
      <pc:sldChg chg="modSp add replId">
        <pc:chgData name="rhashimoto@hks.harvard.edu" userId="S::urn:spo:guest#rhashimoto@hks.harvard.edu::" providerId="AD" clId="Web-{55B77444-3864-23BD-A319-892EED651839}" dt="2020-12-07T19:05:48.949" v="1987" actId="20577"/>
        <pc:sldMkLst>
          <pc:docMk/>
          <pc:sldMk cId="774605815" sldId="336"/>
        </pc:sldMkLst>
        <pc:spChg chg="mod">
          <ac:chgData name="rhashimoto@hks.harvard.edu" userId="S::urn:spo:guest#rhashimoto@hks.harvard.edu::" providerId="AD" clId="Web-{55B77444-3864-23BD-A319-892EED651839}" dt="2020-12-07T19:04:37.869" v="1923" actId="20577"/>
          <ac:spMkLst>
            <pc:docMk/>
            <pc:sldMk cId="774605815" sldId="336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55B77444-3864-23BD-A319-892EED651839}" dt="2020-12-07T19:05:48.949" v="1987" actId="20577"/>
          <ac:spMkLst>
            <pc:docMk/>
            <pc:sldMk cId="774605815" sldId="336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55B77444-3864-23BD-A319-892EED651839}" dt="2020-12-07T19:04:47.416" v="1926"/>
          <ac:picMkLst>
            <pc:docMk/>
            <pc:sldMk cId="774605815" sldId="336"/>
            <ac:picMk id="3" creationId="{6D37A21E-AD6F-4E8D-A2E4-AF74BDC3B589}"/>
          </ac:picMkLst>
        </pc:picChg>
      </pc:sldChg>
    </pc:docChg>
  </pc:docChgLst>
  <pc:docChgLst>
    <pc:chgData name="clement_brenot@hks.harvard.edu" userId="S::urn:spo:guest#clement_brenot@hks.harvard.edu::" providerId="AD" clId="Web-{BFE38686-398A-74B0-1928-1A637DA734F4}"/>
    <pc:docChg chg="addSld delSld modSld">
      <pc:chgData name="clement_brenot@hks.harvard.edu" userId="S::urn:spo:guest#clement_brenot@hks.harvard.edu::" providerId="AD" clId="Web-{BFE38686-398A-74B0-1928-1A637DA734F4}" dt="2020-12-09T23:04:10.798" v="340" actId="1076"/>
      <pc:docMkLst>
        <pc:docMk/>
      </pc:docMkLst>
      <pc:sldChg chg="modSp">
        <pc:chgData name="clement_brenot@hks.harvard.edu" userId="S::urn:spo:guest#clement_brenot@hks.harvard.edu::" providerId="AD" clId="Web-{BFE38686-398A-74B0-1928-1A637DA734F4}" dt="2020-12-09T22:54:55.097" v="66" actId="20577"/>
        <pc:sldMkLst>
          <pc:docMk/>
          <pc:sldMk cId="256247962" sldId="329"/>
        </pc:sldMkLst>
        <pc:spChg chg="mod">
          <ac:chgData name="clement_brenot@hks.harvard.edu" userId="S::urn:spo:guest#clement_brenot@hks.harvard.edu::" providerId="AD" clId="Web-{BFE38686-398A-74B0-1928-1A637DA734F4}" dt="2020-12-09T22:54:55.097" v="66" actId="20577"/>
          <ac:spMkLst>
            <pc:docMk/>
            <pc:sldMk cId="256247962" sldId="329"/>
            <ac:spMk id="9" creationId="{B0AAEFB1-18A8-4DE6-9E19-C835D37DC5AD}"/>
          </ac:spMkLst>
        </pc:spChg>
      </pc:sldChg>
      <pc:sldChg chg="addSp delSp modSp">
        <pc:chgData name="clement_brenot@hks.harvard.edu" userId="S::urn:spo:guest#clement_brenot@hks.harvard.edu::" providerId="AD" clId="Web-{BFE38686-398A-74B0-1928-1A637DA734F4}" dt="2020-12-09T23:04:10.798" v="340" actId="1076"/>
        <pc:sldMkLst>
          <pc:docMk/>
          <pc:sldMk cId="2443967825" sldId="342"/>
        </pc:sldMkLst>
        <pc:spChg chg="add del mod">
          <ac:chgData name="clement_brenot@hks.harvard.edu" userId="S::urn:spo:guest#clement_brenot@hks.harvard.edu::" providerId="AD" clId="Web-{BFE38686-398A-74B0-1928-1A637DA734F4}" dt="2020-12-09T22:59:19.720" v="180" actId="20577"/>
          <ac:spMkLst>
            <pc:docMk/>
            <pc:sldMk cId="2443967825" sldId="342"/>
            <ac:spMk id="3" creationId="{8111356A-F780-4404-B75E-0094378213E7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2:33.871" v="251" actId="20577"/>
          <ac:spMkLst>
            <pc:docMk/>
            <pc:sldMk cId="2443967825" sldId="342"/>
            <ac:spMk id="5" creationId="{FAFABBCB-8579-463A-8921-0F58F6E0F263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6:25.914" v="92" actId="1076"/>
          <ac:spMkLst>
            <pc:docMk/>
            <pc:sldMk cId="2443967825" sldId="342"/>
            <ac:spMk id="9" creationId="{D7A0E59C-09D8-4DC8-AB1E-565D3E2E568C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6:04.569" v="88" actId="14100"/>
          <ac:spMkLst>
            <pc:docMk/>
            <pc:sldMk cId="2443967825" sldId="342"/>
            <ac:spMk id="10" creationId="{6C898C12-DA1D-4B37-8E6D-BFF5BD397F8F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0:18.723" v="230" actId="1076"/>
          <ac:spMkLst>
            <pc:docMk/>
            <pc:sldMk cId="2443967825" sldId="342"/>
            <ac:spMk id="11" creationId="{0A5FE668-1BDF-460A-9E2B-9495A4D10BDB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13.623" v="128"/>
          <ac:spMkLst>
            <pc:docMk/>
            <pc:sldMk cId="2443967825" sldId="342"/>
            <ac:spMk id="13" creationId="{2C6207D8-3D1C-485D-855F-1A2590EDC1CE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07.060" v="124"/>
          <ac:spMkLst>
            <pc:docMk/>
            <pc:sldMk cId="2443967825" sldId="342"/>
            <ac:spMk id="15" creationId="{DD02E3A9-45C9-4DFD-B92D-390CD509884D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12.107" v="127"/>
          <ac:spMkLst>
            <pc:docMk/>
            <pc:sldMk cId="2443967825" sldId="342"/>
            <ac:spMk id="17" creationId="{0E1BCF6A-A304-4C4B-8F63-30F3A1E313CD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10.732" v="126"/>
          <ac:spMkLst>
            <pc:docMk/>
            <pc:sldMk cId="2443967825" sldId="342"/>
            <ac:spMk id="19" creationId="{FB86EC22-F16F-4593-BFDC-BEC8EDEA8ABC}"/>
          </ac:spMkLst>
        </pc:spChg>
        <pc:spChg chg="add del">
          <ac:chgData name="clement_brenot@hks.harvard.edu" userId="S::urn:spo:guest#clement_brenot@hks.harvard.edu::" providerId="AD" clId="Web-{BFE38686-398A-74B0-1928-1A637DA734F4}" dt="2020-12-09T22:58:08.779" v="125"/>
          <ac:spMkLst>
            <pc:docMk/>
            <pc:sldMk cId="2443967825" sldId="342"/>
            <ac:spMk id="21" creationId="{6860D0CB-6356-4E56-B601-B9B69369DC78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43.656" v="328" actId="1076"/>
          <ac:spMkLst>
            <pc:docMk/>
            <pc:sldMk cId="2443967825" sldId="342"/>
            <ac:spMk id="23" creationId="{668A9EC8-E424-4695-B108-DAC6B939A1A1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9:51.159" v="202" actId="20577"/>
          <ac:spMkLst>
            <pc:docMk/>
            <pc:sldMk cId="2443967825" sldId="342"/>
            <ac:spMk id="25" creationId="{D3F3A32D-F858-4896-A47A-CE358F96FE50}"/>
          </ac:spMkLst>
        </pc:spChg>
        <pc:spChg chg="add del mod">
          <ac:chgData name="clement_brenot@hks.harvard.edu" userId="S::urn:spo:guest#clement_brenot@hks.harvard.edu::" providerId="AD" clId="Web-{BFE38686-398A-74B0-1928-1A637DA734F4}" dt="2020-12-09T22:59:52.519" v="204"/>
          <ac:spMkLst>
            <pc:docMk/>
            <pc:sldMk cId="2443967825" sldId="342"/>
            <ac:spMk id="27" creationId="{993A8E9D-A0F2-4CFC-9767-B3B23CC660EC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2:59:56.269" v="205" actId="1076"/>
          <ac:spMkLst>
            <pc:docMk/>
            <pc:sldMk cId="2443967825" sldId="342"/>
            <ac:spMk id="28" creationId="{72E2B3AA-53D8-4602-B227-A24A8C3A75BB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0:04.363" v="226" actId="20577"/>
          <ac:spMkLst>
            <pc:docMk/>
            <pc:sldMk cId="2443967825" sldId="342"/>
            <ac:spMk id="29" creationId="{49BD966D-A05E-41B9-A538-EBA4E2BD9A4A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03.123" v="272" actId="20577"/>
          <ac:spMkLst>
            <pc:docMk/>
            <pc:sldMk cId="2443967825" sldId="342"/>
            <ac:spMk id="31" creationId="{D350CA26-6769-4409-9443-F271ABEBCA0D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46.500" v="329" actId="14100"/>
          <ac:spMkLst>
            <pc:docMk/>
            <pc:sldMk cId="2443967825" sldId="342"/>
            <ac:spMk id="32" creationId="{8A8FD0B8-9173-4235-A4AB-A36E51739A18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3:56.860" v="334" actId="20577"/>
          <ac:spMkLst>
            <pc:docMk/>
            <pc:sldMk cId="2443967825" sldId="342"/>
            <ac:spMk id="33" creationId="{1AA01C30-06D6-4427-99D7-8E920F75ED92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4:04.345" v="338" actId="1076"/>
          <ac:spMkLst>
            <pc:docMk/>
            <pc:sldMk cId="2443967825" sldId="342"/>
            <ac:spMk id="34" creationId="{564B80F3-CF1C-44FE-BF4C-522EA13282F0}"/>
          </ac:spMkLst>
        </pc:spChg>
        <pc:spChg chg="add mod">
          <ac:chgData name="clement_brenot@hks.harvard.edu" userId="S::urn:spo:guest#clement_brenot@hks.harvard.edu::" providerId="AD" clId="Web-{BFE38686-398A-74B0-1928-1A637DA734F4}" dt="2020-12-09T23:04:10.798" v="340" actId="1076"/>
          <ac:spMkLst>
            <pc:docMk/>
            <pc:sldMk cId="2443967825" sldId="342"/>
            <ac:spMk id="35" creationId="{D5AC9ECF-7AA2-4339-B1B0-122414073BAB}"/>
          </ac:spMkLst>
        </pc:spChg>
        <pc:picChg chg="add del mod ord">
          <ac:chgData name="clement_brenot@hks.harvard.edu" userId="S::urn:spo:guest#clement_brenot@hks.harvard.edu::" providerId="AD" clId="Web-{BFE38686-398A-74B0-1928-1A637DA734F4}" dt="2020-12-09T22:52:24.386" v="30"/>
          <ac:picMkLst>
            <pc:docMk/>
            <pc:sldMk cId="2443967825" sldId="342"/>
            <ac:picMk id="8" creationId="{61D4F7EB-A600-4FB3-8628-BE15C403F502}"/>
          </ac:picMkLst>
        </pc:picChg>
        <pc:cxnChg chg="add mod">
          <ac:chgData name="clement_brenot@hks.harvard.edu" userId="S::urn:spo:guest#clement_brenot@hks.harvard.edu::" providerId="AD" clId="Web-{BFE38686-398A-74B0-1928-1A637DA734F4}" dt="2020-12-09T23:00:31.161" v="232" actId="1076"/>
          <ac:cxnSpMkLst>
            <pc:docMk/>
            <pc:sldMk cId="2443967825" sldId="342"/>
            <ac:cxnSpMk id="6" creationId="{0B757D8B-D0A3-436A-A5C5-AA9246182D97}"/>
          </ac:cxnSpMkLst>
        </pc:cxnChg>
        <pc:cxnChg chg="add del mod">
          <ac:chgData name="clement_brenot@hks.harvard.edu" userId="S::urn:spo:guest#clement_brenot@hks.harvard.edu::" providerId="AD" clId="Web-{BFE38686-398A-74B0-1928-1A637DA734F4}" dt="2020-12-09T22:50:44.021" v="21"/>
          <ac:cxnSpMkLst>
            <pc:docMk/>
            <pc:sldMk cId="2443967825" sldId="342"/>
            <ac:cxnSpMk id="7" creationId="{5DBB122D-E0F5-400F-8F3B-0052EB4C3675}"/>
          </ac:cxnSpMkLst>
        </pc:cxnChg>
        <pc:cxnChg chg="add mod">
          <ac:chgData name="clement_brenot@hks.harvard.edu" userId="S::urn:spo:guest#clement_brenot@hks.harvard.edu::" providerId="AD" clId="Web-{BFE38686-398A-74B0-1928-1A637DA734F4}" dt="2020-12-09T23:00:43.115" v="234" actId="1076"/>
          <ac:cxnSpMkLst>
            <pc:docMk/>
            <pc:sldMk cId="2443967825" sldId="342"/>
            <ac:cxnSpMk id="30" creationId="{6275D0DE-C94C-42D5-95D8-FB47BC3899B7}"/>
          </ac:cxnSpMkLst>
        </pc:cxnChg>
      </pc:sldChg>
      <pc:sldChg chg="modSp">
        <pc:chgData name="clement_brenot@hks.harvard.edu" userId="S::urn:spo:guest#clement_brenot@hks.harvard.edu::" providerId="AD" clId="Web-{BFE38686-398A-74B0-1928-1A637DA734F4}" dt="2020-12-09T22:41:02.303" v="4" actId="20577"/>
        <pc:sldMkLst>
          <pc:docMk/>
          <pc:sldMk cId="1576018716" sldId="343"/>
        </pc:sldMkLst>
        <pc:spChg chg="mod">
          <ac:chgData name="clement_brenot@hks.harvard.edu" userId="S::urn:spo:guest#clement_brenot@hks.harvard.edu::" providerId="AD" clId="Web-{BFE38686-398A-74B0-1928-1A637DA734F4}" dt="2020-12-09T22:41:02.303" v="4" actId="20577"/>
          <ac:spMkLst>
            <pc:docMk/>
            <pc:sldMk cId="1576018716" sldId="343"/>
            <ac:spMk id="37" creationId="{56EA873B-C4EB-498B-BD57-63E96BEB4EAF}"/>
          </ac:spMkLst>
        </pc:spChg>
        <pc:spChg chg="mod">
          <ac:chgData name="clement_brenot@hks.harvard.edu" userId="S::urn:spo:guest#clement_brenot@hks.harvard.edu::" providerId="AD" clId="Web-{BFE38686-398A-74B0-1928-1A637DA734F4}" dt="2020-12-09T22:40:58.459" v="3" actId="20577"/>
          <ac:spMkLst>
            <pc:docMk/>
            <pc:sldMk cId="1576018716" sldId="343"/>
            <ac:spMk id="38" creationId="{61DDABCC-BA05-4B92-BD04-17BA24E41FEE}"/>
          </ac:spMkLst>
        </pc:spChg>
      </pc:sldChg>
      <pc:sldChg chg="add del replId">
        <pc:chgData name="clement_brenot@hks.harvard.edu" userId="S::urn:spo:guest#clement_brenot@hks.harvard.edu::" providerId="AD" clId="Web-{BFE38686-398A-74B0-1928-1A637DA734F4}" dt="2020-12-09T22:46:14.195" v="6"/>
        <pc:sldMkLst>
          <pc:docMk/>
          <pc:sldMk cId="2305123290" sldId="344"/>
        </pc:sldMkLst>
      </pc:sldChg>
    </pc:docChg>
  </pc:docChgLst>
  <pc:docChgLst>
    <pc:chgData name="rhashimoto@hks.harvard.edu" userId="S::urn:spo:guest#rhashimoto@hks.harvard.edu::" providerId="AD" clId="Web-{959E1378-0CCC-BD0A-2E33-FF21EF56B5EC}"/>
    <pc:docChg chg="modSld">
      <pc:chgData name="rhashimoto@hks.harvard.edu" userId="S::urn:spo:guest#rhashimoto@hks.harvard.edu::" providerId="AD" clId="Web-{959E1378-0CCC-BD0A-2E33-FF21EF56B5EC}" dt="2020-12-09T16:24:32.615" v="369"/>
      <pc:docMkLst>
        <pc:docMk/>
      </pc:docMkLst>
      <pc:sldChg chg="modSp">
        <pc:chgData name="rhashimoto@hks.harvard.edu" userId="S::urn:spo:guest#rhashimoto@hks.harvard.edu::" providerId="AD" clId="Web-{959E1378-0CCC-BD0A-2E33-FF21EF56B5EC}" dt="2020-12-09T15:31:16.590" v="172" actId="20577"/>
        <pc:sldMkLst>
          <pc:docMk/>
          <pc:sldMk cId="1945467717" sldId="317"/>
        </pc:sldMkLst>
        <pc:spChg chg="mod">
          <ac:chgData name="rhashimoto@hks.harvard.edu" userId="S::urn:spo:guest#rhashimoto@hks.harvard.edu::" providerId="AD" clId="Web-{959E1378-0CCC-BD0A-2E33-FF21EF56B5EC}" dt="2020-12-09T15:31:16.590" v="172" actId="20577"/>
          <ac:spMkLst>
            <pc:docMk/>
            <pc:sldMk cId="1945467717" sldId="317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6:14:54.554" v="329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959E1378-0CCC-BD0A-2E33-FF21EF56B5EC}" dt="2020-12-09T15:53:30.118" v="289" actId="20577"/>
          <ac:spMkLst>
            <pc:docMk/>
            <pc:sldMk cId="3952555209" sldId="324"/>
            <ac:spMk id="10" creationId="{E7FB5E50-C110-4645-8045-906AD0D3E313}"/>
          </ac:spMkLst>
        </pc:spChg>
        <pc:spChg chg="mod">
          <ac:chgData name="rhashimoto@hks.harvard.edu" userId="S::urn:spo:guest#rhashimoto@hks.harvard.edu::" providerId="AD" clId="Web-{959E1378-0CCC-BD0A-2E33-FF21EF56B5EC}" dt="2020-12-09T16:14:35.803" v="325" actId="20577"/>
          <ac:spMkLst>
            <pc:docMk/>
            <pc:sldMk cId="3952555209" sldId="324"/>
            <ac:spMk id="18" creationId="{637489A0-2E6F-4954-B9E7-43F7F30B60DF}"/>
          </ac:spMkLst>
        </pc:spChg>
        <pc:spChg chg="mod">
          <ac:chgData name="rhashimoto@hks.harvard.edu" userId="S::urn:spo:guest#rhashimoto@hks.harvard.edu::" providerId="AD" clId="Web-{959E1378-0CCC-BD0A-2E33-FF21EF56B5EC}" dt="2020-12-09T15:33:59.656" v="239" actId="1076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959E1378-0CCC-BD0A-2E33-FF21EF56B5EC}" dt="2020-12-09T15:33:47.359" v="238" actId="20577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959E1378-0CCC-BD0A-2E33-FF21EF56B5EC}" dt="2020-12-09T15:53:35.134" v="299" actId="20577"/>
          <ac:spMkLst>
            <pc:docMk/>
            <pc:sldMk cId="3952555209" sldId="324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959E1378-0CCC-BD0A-2E33-FF21EF56B5EC}" dt="2020-12-09T16:14:40.944" v="326" actId="20577"/>
          <ac:spMkLst>
            <pc:docMk/>
            <pc:sldMk cId="3952555209" sldId="324"/>
            <ac:spMk id="97" creationId="{1D8E2CBB-4147-4C36-862D-077CE0D51F46}"/>
          </ac:spMkLst>
        </pc:spChg>
        <pc:spChg chg="mod">
          <ac:chgData name="rhashimoto@hks.harvard.edu" userId="S::urn:spo:guest#rhashimoto@hks.harvard.edu::" providerId="AD" clId="Web-{959E1378-0CCC-BD0A-2E33-FF21EF56B5EC}" dt="2020-12-09T16:14:49.241" v="328" actId="20577"/>
          <ac:spMkLst>
            <pc:docMk/>
            <pc:sldMk cId="3952555209" sldId="324"/>
            <ac:spMk id="112" creationId="{21774F6B-A27B-47FB-9A7B-E1F869A4B5BC}"/>
          </ac:spMkLst>
        </pc:spChg>
        <pc:spChg chg="mod">
          <ac:chgData name="rhashimoto@hks.harvard.edu" userId="S::urn:spo:guest#rhashimoto@hks.harvard.edu::" providerId="AD" clId="Web-{959E1378-0CCC-BD0A-2E33-FF21EF56B5EC}" dt="2020-12-09T16:14:46.241" v="327" actId="20577"/>
          <ac:spMkLst>
            <pc:docMk/>
            <pc:sldMk cId="3952555209" sldId="324"/>
            <ac:spMk id="128" creationId="{5C0811B4-CF15-4EA5-8BE7-3E04536928AC}"/>
          </ac:spMkLst>
        </pc:spChg>
        <pc:spChg chg="mod">
          <ac:chgData name="rhashimoto@hks.harvard.edu" userId="S::urn:spo:guest#rhashimoto@hks.harvard.edu::" providerId="AD" clId="Web-{959E1378-0CCC-BD0A-2E33-FF21EF56B5EC}" dt="2020-12-09T16:14:54.554" v="329" actId="20577"/>
          <ac:spMkLst>
            <pc:docMk/>
            <pc:sldMk cId="3952555209" sldId="324"/>
            <ac:spMk id="154" creationId="{0B464D91-89C3-4E77-8FD7-F9762557AB62}"/>
          </ac:spMkLst>
        </pc:spChg>
        <pc:grpChg chg="mod">
          <ac:chgData name="rhashimoto@hks.harvard.edu" userId="S::urn:spo:guest#rhashimoto@hks.harvard.edu::" providerId="AD" clId="Web-{959E1378-0CCC-BD0A-2E33-FF21EF56B5EC}" dt="2020-12-09T15:33:59.719" v="240" actId="1076"/>
          <ac:grpSpMkLst>
            <pc:docMk/>
            <pc:sldMk cId="3952555209" sldId="324"/>
            <ac:grpSpMk id="47" creationId="{1A0FE03B-EF53-47D7-8AE0-ACE3B6D6A76E}"/>
          </ac:grpSpMkLst>
        </pc:grpChg>
      </pc:sldChg>
      <pc:sldChg chg="modSp">
        <pc:chgData name="rhashimoto@hks.harvard.edu" userId="S::urn:spo:guest#rhashimoto@hks.harvard.edu::" providerId="AD" clId="Web-{959E1378-0CCC-BD0A-2E33-FF21EF56B5EC}" dt="2020-12-09T15:30:54.496" v="125" actId="20577"/>
        <pc:sldMkLst>
          <pc:docMk/>
          <pc:sldMk cId="4252223035" sldId="325"/>
        </pc:sldMkLst>
        <pc:spChg chg="mod">
          <ac:chgData name="rhashimoto@hks.harvard.edu" userId="S::urn:spo:guest#rhashimoto@hks.harvard.edu::" providerId="AD" clId="Web-{959E1378-0CCC-BD0A-2E33-FF21EF56B5EC}" dt="2020-12-09T15:30:54.496" v="125" actId="20577"/>
          <ac:spMkLst>
            <pc:docMk/>
            <pc:sldMk cId="4252223035" sldId="325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5:30:19.699" v="31" actId="20577"/>
        <pc:sldMkLst>
          <pc:docMk/>
          <pc:sldMk cId="256247962" sldId="329"/>
        </pc:sldMkLst>
        <pc:spChg chg="mod">
          <ac:chgData name="rhashimoto@hks.harvard.edu" userId="S::urn:spo:guest#rhashimoto@hks.harvard.edu::" providerId="AD" clId="Web-{959E1378-0CCC-BD0A-2E33-FF21EF56B5EC}" dt="2020-12-09T15:30:19.699" v="31" actId="20577"/>
          <ac:spMkLst>
            <pc:docMk/>
            <pc:sldMk cId="256247962" sldId="329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6:22:15.955" v="340" actId="20577"/>
        <pc:sldMkLst>
          <pc:docMk/>
          <pc:sldMk cId="636355527" sldId="330"/>
        </pc:sldMkLst>
        <pc:spChg chg="mod">
          <ac:chgData name="rhashimoto@hks.harvard.edu" userId="S::urn:spo:guest#rhashimoto@hks.harvard.edu::" providerId="AD" clId="Web-{959E1378-0CCC-BD0A-2E33-FF21EF56B5EC}" dt="2020-12-09T16:22:15.955" v="340" actId="20577"/>
          <ac:spMkLst>
            <pc:docMk/>
            <pc:sldMk cId="636355527" sldId="330"/>
            <ac:spMk id="166" creationId="{436B5FC7-0C2A-4E9B-BD9A-F858767207F6}"/>
          </ac:spMkLst>
        </pc:spChg>
      </pc:sldChg>
      <pc:sldChg chg="modSp">
        <pc:chgData name="rhashimoto@hks.harvard.edu" userId="S::urn:spo:guest#rhashimoto@hks.harvard.edu::" providerId="AD" clId="Web-{959E1378-0CCC-BD0A-2E33-FF21EF56B5EC}" dt="2020-12-09T16:24:32.615" v="369"/>
        <pc:sldMkLst>
          <pc:docMk/>
          <pc:sldMk cId="3261659482" sldId="331"/>
        </pc:sldMkLst>
        <pc:spChg chg="mod">
          <ac:chgData name="rhashimoto@hks.harvard.edu" userId="S::urn:spo:guest#rhashimoto@hks.harvard.edu::" providerId="AD" clId="Web-{959E1378-0CCC-BD0A-2E33-FF21EF56B5EC}" dt="2020-12-09T16:23:15.144" v="367" actId="20577"/>
          <ac:spMkLst>
            <pc:docMk/>
            <pc:sldMk cId="3261659482" sldId="331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959E1378-0CCC-BD0A-2E33-FF21EF56B5EC}" dt="2020-12-09T16:24:32.615" v="369"/>
          <ac:picMkLst>
            <pc:docMk/>
            <pc:sldMk cId="3261659482" sldId="331"/>
            <ac:picMk id="9" creationId="{F86C5572-A6AC-4E1D-A22D-9DE28CC6EEC3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6:17:14.088" v="335" actId="1076"/>
        <pc:sldMkLst>
          <pc:docMk/>
          <pc:sldMk cId="2863280912" sldId="333"/>
        </pc:sldMkLst>
        <pc:spChg chg="mod">
          <ac:chgData name="rhashimoto@hks.harvard.edu" userId="S::urn:spo:guest#rhashimoto@hks.harvard.edu::" providerId="AD" clId="Web-{959E1378-0CCC-BD0A-2E33-FF21EF56B5EC}" dt="2020-12-09T15:55:16.714" v="320" actId="20577"/>
          <ac:spMkLst>
            <pc:docMk/>
            <pc:sldMk cId="2863280912" sldId="333"/>
            <ac:spMk id="12" creationId="{84106720-FFD5-443F-9D03-3E3697554AC0}"/>
          </ac:spMkLst>
        </pc:spChg>
        <pc:picChg chg="mod">
          <ac:chgData name="rhashimoto@hks.harvard.edu" userId="S::urn:spo:guest#rhashimoto@hks.harvard.edu::" providerId="AD" clId="Web-{959E1378-0CCC-BD0A-2E33-FF21EF56B5EC}" dt="2020-12-09T16:17:14.088" v="335" actId="1076"/>
          <ac:picMkLst>
            <pc:docMk/>
            <pc:sldMk cId="2863280912" sldId="333"/>
            <ac:picMk id="3" creationId="{6D37A21E-AD6F-4E8D-A2E4-AF74BDC3B589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6:15:06.617" v="331"/>
        <pc:sldMkLst>
          <pc:docMk/>
          <pc:sldMk cId="3748729337" sldId="334"/>
        </pc:sldMkLst>
        <pc:graphicFrameChg chg="mod modGraphic">
          <ac:chgData name="rhashimoto@hks.harvard.edu" userId="S::urn:spo:guest#rhashimoto@hks.harvard.edu::" providerId="AD" clId="Web-{959E1378-0CCC-BD0A-2E33-FF21EF56B5EC}" dt="2020-12-09T16:15:06.617" v="331"/>
          <ac:graphicFrameMkLst>
            <pc:docMk/>
            <pc:sldMk cId="3748729337" sldId="334"/>
            <ac:graphicFrameMk id="14" creationId="{F12D65FC-FB00-4FB7-BFBC-1BD5C2F05019}"/>
          </ac:graphicFrameMkLst>
        </pc:graphicFrameChg>
      </pc:sldChg>
      <pc:sldChg chg="modSp">
        <pc:chgData name="rhashimoto@hks.harvard.edu" userId="S::urn:spo:guest#rhashimoto@hks.harvard.edu::" providerId="AD" clId="Web-{959E1378-0CCC-BD0A-2E33-FF21EF56B5EC}" dt="2020-12-09T16:17:26.776" v="336"/>
        <pc:sldMkLst>
          <pc:docMk/>
          <pc:sldMk cId="956095302" sldId="335"/>
        </pc:sldMkLst>
        <pc:picChg chg="mod">
          <ac:chgData name="rhashimoto@hks.harvard.edu" userId="S::urn:spo:guest#rhashimoto@hks.harvard.edu::" providerId="AD" clId="Web-{959E1378-0CCC-BD0A-2E33-FF21EF56B5EC}" dt="2020-12-09T16:17:26.776" v="336"/>
          <ac:picMkLst>
            <pc:docMk/>
            <pc:sldMk cId="956095302" sldId="335"/>
            <ac:picMk id="3" creationId="{6D37A21E-AD6F-4E8D-A2E4-AF74BDC3B589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6:19:49.749" v="338"/>
        <pc:sldMkLst>
          <pc:docMk/>
          <pc:sldMk cId="774605815" sldId="336"/>
        </pc:sldMkLst>
        <pc:picChg chg="mod">
          <ac:chgData name="rhashimoto@hks.harvard.edu" userId="S::urn:spo:guest#rhashimoto@hks.harvard.edu::" providerId="AD" clId="Web-{959E1378-0CCC-BD0A-2E33-FF21EF56B5EC}" dt="2020-12-09T16:19:49.749" v="338"/>
          <ac:picMkLst>
            <pc:docMk/>
            <pc:sldMk cId="774605815" sldId="336"/>
            <ac:picMk id="3" creationId="{6D37A21E-AD6F-4E8D-A2E4-AF74BDC3B589}"/>
          </ac:picMkLst>
        </pc:picChg>
      </pc:sldChg>
      <pc:sldChg chg="modSp">
        <pc:chgData name="rhashimoto@hks.harvard.edu" userId="S::urn:spo:guest#rhashimoto@hks.harvard.edu::" providerId="AD" clId="Web-{959E1378-0CCC-BD0A-2E33-FF21EF56B5EC}" dt="2020-12-09T15:30:37.074" v="76" actId="20577"/>
        <pc:sldMkLst>
          <pc:docMk/>
          <pc:sldMk cId="671342501" sldId="338"/>
        </pc:sldMkLst>
        <pc:spChg chg="mod">
          <ac:chgData name="rhashimoto@hks.harvard.edu" userId="S::urn:spo:guest#rhashimoto@hks.harvard.edu::" providerId="AD" clId="Web-{959E1378-0CCC-BD0A-2E33-FF21EF56B5EC}" dt="2020-12-09T15:30:37.074" v="76" actId="20577"/>
          <ac:spMkLst>
            <pc:docMk/>
            <pc:sldMk cId="671342501" sldId="338"/>
            <ac:spMk id="9" creationId="{B0AAEFB1-18A8-4DE6-9E19-C835D37DC5AD}"/>
          </ac:spMkLst>
        </pc:spChg>
      </pc:sldChg>
    </pc:docChg>
  </pc:docChgLst>
  <pc:docChgLst>
    <pc:chgData name="rhashimoto@hks.harvard.edu" userId="S::urn:spo:guest#rhashimoto@hks.harvard.edu::" providerId="AD" clId="Web-{BB3E9BF3-24DD-6C8F-58A8-7D4A1CC03DDD}"/>
    <pc:docChg chg="addSld delSld modSld">
      <pc:chgData name="rhashimoto@hks.harvard.edu" userId="S::urn:spo:guest#rhashimoto@hks.harvard.edu::" providerId="AD" clId="Web-{BB3E9BF3-24DD-6C8F-58A8-7D4A1CC03DDD}" dt="2020-12-07T03:25:12.528" v="1498" actId="20577"/>
      <pc:docMkLst>
        <pc:docMk/>
      </pc:docMkLst>
      <pc:sldChg chg="modSp">
        <pc:chgData name="rhashimoto@hks.harvard.edu" userId="S::urn:spo:guest#rhashimoto@hks.harvard.edu::" providerId="AD" clId="Web-{BB3E9BF3-24DD-6C8F-58A8-7D4A1CC03DDD}" dt="2020-12-07T01:34:01.514" v="226" actId="20577"/>
        <pc:sldMkLst>
          <pc:docMk/>
          <pc:sldMk cId="1945467717" sldId="317"/>
        </pc:sldMkLst>
        <pc:spChg chg="mod">
          <ac:chgData name="rhashimoto@hks.harvard.edu" userId="S::urn:spo:guest#rhashimoto@hks.harvard.edu::" providerId="AD" clId="Web-{BB3E9BF3-24DD-6C8F-58A8-7D4A1CC03DDD}" dt="2020-12-07T01:34:01.514" v="226" actId="20577"/>
          <ac:spMkLst>
            <pc:docMk/>
            <pc:sldMk cId="1945467717" sldId="317"/>
            <ac:spMk id="9" creationId="{B0AAEFB1-18A8-4DE6-9E19-C835D37DC5AD}"/>
          </ac:spMkLst>
        </pc:spChg>
      </pc:sldChg>
      <pc:sldChg chg="modSp">
        <pc:chgData name="rhashimoto@hks.harvard.edu" userId="S::urn:spo:guest#rhashimoto@hks.harvard.edu::" providerId="AD" clId="Web-{BB3E9BF3-24DD-6C8F-58A8-7D4A1CC03DDD}" dt="2020-12-07T02:37:56.915" v="1009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BB3E9BF3-24DD-6C8F-58A8-7D4A1CC03DDD}" dt="2020-12-07T01:56:54.130" v="381" actId="1076"/>
          <ac:spMkLst>
            <pc:docMk/>
            <pc:sldMk cId="3952555209" sldId="324"/>
            <ac:spMk id="7" creationId="{61D75854-4415-4E17-AEAB-9E0A9330A693}"/>
          </ac:spMkLst>
        </pc:spChg>
        <pc:spChg chg="mod">
          <ac:chgData name="rhashimoto@hks.harvard.edu" userId="S::urn:spo:guest#rhashimoto@hks.harvard.edu::" providerId="AD" clId="Web-{BB3E9BF3-24DD-6C8F-58A8-7D4A1CC03DDD}" dt="2020-12-07T01:40:21.493" v="328" actId="20577"/>
          <ac:spMkLst>
            <pc:docMk/>
            <pc:sldMk cId="3952555209" sldId="324"/>
            <ac:spMk id="10" creationId="{E7FB5E50-C110-4645-8045-906AD0D3E313}"/>
          </ac:spMkLst>
        </pc:spChg>
        <pc:spChg chg="mod">
          <ac:chgData name="rhashimoto@hks.harvard.edu" userId="S::urn:spo:guest#rhashimoto@hks.harvard.edu::" providerId="AD" clId="Web-{BB3E9BF3-24DD-6C8F-58A8-7D4A1CC03DDD}" dt="2020-12-07T01:40:32.337" v="331" actId="1076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BB3E9BF3-24DD-6C8F-58A8-7D4A1CC03DDD}" dt="2020-12-07T01:40:25.071" v="330" actId="1076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BB3E9BF3-24DD-6C8F-58A8-7D4A1CC03DDD}" dt="2020-12-07T02:37:56.915" v="1009" actId="20577"/>
          <ac:spMkLst>
            <pc:docMk/>
            <pc:sldMk cId="3952555209" sldId="324"/>
            <ac:spMk id="105" creationId="{C77AB881-33B0-45B8-A110-6FFC2586468F}"/>
          </ac:spMkLst>
        </pc:spChg>
        <pc:spChg chg="mod">
          <ac:chgData name="rhashimoto@hks.harvard.edu" userId="S::urn:spo:guest#rhashimoto@hks.harvard.edu::" providerId="AD" clId="Web-{BB3E9BF3-24DD-6C8F-58A8-7D4A1CC03DDD}" dt="2020-12-07T02:31:50.890" v="950" actId="1076"/>
          <ac:spMkLst>
            <pc:docMk/>
            <pc:sldMk cId="3952555209" sldId="324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BB3E9BF3-24DD-6C8F-58A8-7D4A1CC03DDD}" dt="2020-12-07T02:29:14.292" v="889" actId="20577"/>
          <ac:spMkLst>
            <pc:docMk/>
            <pc:sldMk cId="3952555209" sldId="324"/>
            <ac:spMk id="152" creationId="{92FF87A8-75F5-41AD-ADAD-A4A69AC5D5F0}"/>
          </ac:spMkLst>
        </pc:spChg>
        <pc:grpChg chg="mod">
          <ac:chgData name="rhashimoto@hks.harvard.edu" userId="S::urn:spo:guest#rhashimoto@hks.harvard.edu::" providerId="AD" clId="Web-{BB3E9BF3-24DD-6C8F-58A8-7D4A1CC03DDD}" dt="2020-12-07T01:40:25.040" v="329" actId="1076"/>
          <ac:grpSpMkLst>
            <pc:docMk/>
            <pc:sldMk cId="3952555209" sldId="324"/>
            <ac:grpSpMk id="20" creationId="{0F920116-1AD9-4FF1-AABA-0B9E70921ADB}"/>
          </ac:grpSpMkLst>
        </pc:grpChg>
        <pc:grpChg chg="mod">
          <ac:chgData name="rhashimoto@hks.harvard.edu" userId="S::urn:spo:guest#rhashimoto@hks.harvard.edu::" providerId="AD" clId="Web-{BB3E9BF3-24DD-6C8F-58A8-7D4A1CC03DDD}" dt="2020-12-07T01:40:32.368" v="332" actId="1076"/>
          <ac:grpSpMkLst>
            <pc:docMk/>
            <pc:sldMk cId="3952555209" sldId="324"/>
            <ac:grpSpMk id="47" creationId="{1A0FE03B-EF53-47D7-8AE0-ACE3B6D6A76E}"/>
          </ac:grpSpMkLst>
        </pc:grpChg>
      </pc:sldChg>
      <pc:sldChg chg="addSp delSp modSp add replId">
        <pc:chgData name="rhashimoto@hks.harvard.edu" userId="S::urn:spo:guest#rhashimoto@hks.harvard.edu::" providerId="AD" clId="Web-{BB3E9BF3-24DD-6C8F-58A8-7D4A1CC03DDD}" dt="2020-12-07T01:24:33.030" v="211"/>
        <pc:sldMkLst>
          <pc:docMk/>
          <pc:sldMk cId="2974865944" sldId="326"/>
        </pc:sldMkLst>
        <pc:spChg chg="del">
          <ac:chgData name="rhashimoto@hks.harvard.edu" userId="S::urn:spo:guest#rhashimoto@hks.harvard.edu::" providerId="AD" clId="Web-{BB3E9BF3-24DD-6C8F-58A8-7D4A1CC03DDD}" dt="2020-12-07T01:11:34.259" v="48"/>
          <ac:spMkLst>
            <pc:docMk/>
            <pc:sldMk cId="2974865944" sldId="326"/>
            <ac:spMk id="7" creationId="{61D75854-4415-4E17-AEAB-9E0A9330A693}"/>
          </ac:spMkLst>
        </pc:spChg>
        <pc:spChg chg="mod">
          <ac:chgData name="rhashimoto@hks.harvard.edu" userId="S::urn:spo:guest#rhashimoto@hks.harvard.edu::" providerId="AD" clId="Web-{BB3E9BF3-24DD-6C8F-58A8-7D4A1CC03DDD}" dt="2020-12-07T01:19:05.443" v="182" actId="20577"/>
          <ac:spMkLst>
            <pc:docMk/>
            <pc:sldMk cId="2974865944" sldId="326"/>
            <ac:spMk id="8" creationId="{8877635F-823A-4ABD-B484-DE8588AA46A8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7"/>
          <ac:spMkLst>
            <pc:docMk/>
            <pc:sldMk cId="2974865944" sldId="326"/>
            <ac:spMk id="10" creationId="{E7FB5E50-C110-4645-8045-906AD0D3E313}"/>
          </ac:spMkLst>
        </pc:spChg>
        <pc:spChg chg="add mod">
          <ac:chgData name="rhashimoto@hks.harvard.edu" userId="S::urn:spo:guest#rhashimoto@hks.harvard.edu::" providerId="AD" clId="Web-{BB3E9BF3-24DD-6C8F-58A8-7D4A1CC03DDD}" dt="2020-12-07T01:18:44.661" v="149" actId="20577"/>
          <ac:spMkLst>
            <pc:docMk/>
            <pc:sldMk cId="2974865944" sldId="326"/>
            <ac:spMk id="12" creationId="{84106720-FFD5-443F-9D03-3E3697554AC0}"/>
          </ac:spMkLst>
        </pc:spChg>
        <pc:spChg chg="add mod">
          <ac:chgData name="rhashimoto@hks.harvard.edu" userId="S::urn:spo:guest#rhashimoto@hks.harvard.edu::" providerId="AD" clId="Web-{BB3E9BF3-24DD-6C8F-58A8-7D4A1CC03DDD}" dt="2020-12-07T01:17:54.613" v="130" actId="20577"/>
          <ac:spMkLst>
            <pc:docMk/>
            <pc:sldMk cId="2974865944" sldId="326"/>
            <ac:spMk id="15" creationId="{0485A34D-1326-4B08-AFD4-CEF290E47BF9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6"/>
          <ac:spMkLst>
            <pc:docMk/>
            <pc:sldMk cId="2974865944" sldId="326"/>
            <ac:spMk id="36" creationId="{949C1BAC-E1AF-4842-A4C7-431168FB9C94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3"/>
          <ac:spMkLst>
            <pc:docMk/>
            <pc:sldMk cId="2974865944" sldId="326"/>
            <ac:spMk id="46" creationId="{5EF5A04A-4329-4C5F-A8B1-B5DBE47C849F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1"/>
          <ac:spMkLst>
            <pc:docMk/>
            <pc:sldMk cId="2974865944" sldId="326"/>
            <ac:spMk id="54" creationId="{61FFCF64-BE59-4FD4-88D9-876E67372C29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59" v="40"/>
          <ac:spMkLst>
            <pc:docMk/>
            <pc:sldMk cId="2974865944" sldId="326"/>
            <ac:spMk id="55" creationId="{FF035B74-720A-4EBA-ABA2-41D034780A79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9"/>
          <ac:spMkLst>
            <pc:docMk/>
            <pc:sldMk cId="2974865944" sldId="326"/>
            <ac:spMk id="65" creationId="{C1F255B2-CE5E-463F-B469-E08F8D900E9F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8"/>
          <ac:spMkLst>
            <pc:docMk/>
            <pc:sldMk cId="2974865944" sldId="326"/>
            <ac:spMk id="66" creationId="{1CF9105A-41A7-47DF-B52B-D7C8B99A6D52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7"/>
          <ac:spMkLst>
            <pc:docMk/>
            <pc:sldMk cId="2974865944" sldId="326"/>
            <ac:spMk id="87" creationId="{FD6B039C-D7CC-4D97-B95F-1361242B5170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6"/>
          <ac:spMkLst>
            <pc:docMk/>
            <pc:sldMk cId="2974865944" sldId="326"/>
            <ac:spMk id="88" creationId="{D7216B4F-B5B0-44BF-9D82-BBF64FF63F0B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5"/>
          <ac:spMkLst>
            <pc:docMk/>
            <pc:sldMk cId="2974865944" sldId="326"/>
            <ac:spMk id="89" creationId="{24FFC47B-4596-48E5-B378-C258F7F3F6F5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4"/>
          <ac:spMkLst>
            <pc:docMk/>
            <pc:sldMk cId="2974865944" sldId="326"/>
            <ac:spMk id="90" creationId="{DAC0203C-7B4D-4B9C-A042-B91F9D4D5DC3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4"/>
          <ac:spMkLst>
            <pc:docMk/>
            <pc:sldMk cId="2974865944" sldId="326"/>
            <ac:spMk id="91" creationId="{282FC822-A632-4FB7-B9A0-82BDB7E226C7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3"/>
          <ac:spMkLst>
            <pc:docMk/>
            <pc:sldMk cId="2974865944" sldId="326"/>
            <ac:spMk id="92" creationId="{A30F00B6-2047-46B5-8C31-DA71383E4AFB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2"/>
          <ac:spMkLst>
            <pc:docMk/>
            <pc:sldMk cId="2974865944" sldId="326"/>
            <ac:spMk id="94" creationId="{BC050F31-83BE-4497-BCC2-141ACC39C51C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31"/>
          <ac:spMkLst>
            <pc:docMk/>
            <pc:sldMk cId="2974865944" sldId="326"/>
            <ac:spMk id="95" creationId="{413F7D67-8AC4-47C7-B46A-A54DFC9F8972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9"/>
          <ac:spMkLst>
            <pc:docMk/>
            <pc:sldMk cId="2974865944" sldId="326"/>
            <ac:spMk id="105" creationId="{C77AB881-33B0-45B8-A110-6FFC2586468F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7"/>
          <ac:spMkLst>
            <pc:docMk/>
            <pc:sldMk cId="2974865944" sldId="326"/>
            <ac:spMk id="120" creationId="{DB6D1DF5-8030-485E-A747-80D34784D123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6"/>
          <ac:spMkLst>
            <pc:docMk/>
            <pc:sldMk cId="2974865944" sldId="326"/>
            <ac:spMk id="121" creationId="{C6103FAC-FB25-4813-92D9-92812518F61B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5"/>
          <ac:spMkLst>
            <pc:docMk/>
            <pc:sldMk cId="2974865944" sldId="326"/>
            <ac:spMk id="124" creationId="{437A2383-5328-4EA5-968D-D76B17A2C3EA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43" v="21"/>
          <ac:spMkLst>
            <pc:docMk/>
            <pc:sldMk cId="2974865944" sldId="326"/>
            <ac:spMk id="152" creationId="{92FF87A8-75F5-41AD-ADAD-A4A69AC5D5F0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27" v="18"/>
          <ac:spMkLst>
            <pc:docMk/>
            <pc:sldMk cId="2974865944" sldId="326"/>
            <ac:spMk id="160" creationId="{1699C91E-EC26-4E16-B11F-FE990D3B3161}"/>
          </ac:spMkLst>
        </pc:spChg>
        <pc:spChg chg="del">
          <ac:chgData name="rhashimoto@hks.harvard.edu" userId="S::urn:spo:guest#rhashimoto@hks.harvard.edu::" providerId="AD" clId="Web-{BB3E9BF3-24DD-6C8F-58A8-7D4A1CC03DDD}" dt="2020-12-07T01:11:34.227" v="17"/>
          <ac:spMkLst>
            <pc:docMk/>
            <pc:sldMk cId="2974865944" sldId="326"/>
            <ac:spMk id="162" creationId="{2E325347-D028-480C-A7A2-26F593B410D4}"/>
          </ac:spMkLst>
        </pc:spChg>
        <pc:grpChg chg="del">
          <ac:chgData name="rhashimoto@hks.harvard.edu" userId="S::urn:spo:guest#rhashimoto@hks.harvard.edu::" providerId="AD" clId="Web-{BB3E9BF3-24DD-6C8F-58A8-7D4A1CC03DDD}" dt="2020-12-07T01:11:34.243" v="30"/>
          <ac:grpSpMkLst>
            <pc:docMk/>
            <pc:sldMk cId="2974865944" sldId="326"/>
            <ac:grpSpMk id="2" creationId="{AF6B2874-3319-43CB-A2A0-275260CA16BA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19"/>
          <ac:grpSpMkLst>
            <pc:docMk/>
            <pc:sldMk cId="2974865944" sldId="326"/>
            <ac:grpSpMk id="9" creationId="{4627B9D2-BD7E-4B84-9608-9B182A6781D6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27" v="16"/>
          <ac:grpSpMkLst>
            <pc:docMk/>
            <pc:sldMk cId="2974865944" sldId="326"/>
            <ac:grpSpMk id="11" creationId="{CED62419-CD79-4C68-ACC2-7014A4AE3BD2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59" v="44"/>
          <ac:grpSpMkLst>
            <pc:docMk/>
            <pc:sldMk cId="2974865944" sldId="326"/>
            <ac:grpSpMk id="20" creationId="{0F920116-1AD9-4FF1-AABA-0B9E70921ADB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59" v="45"/>
          <ac:grpSpMkLst>
            <pc:docMk/>
            <pc:sldMk cId="2974865944" sldId="326"/>
            <ac:grpSpMk id="37" creationId="{E4941536-0BCB-4D42-A7CD-265416A355F5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59" v="42"/>
          <ac:grpSpMkLst>
            <pc:docMk/>
            <pc:sldMk cId="2974865944" sldId="326"/>
            <ac:grpSpMk id="47" creationId="{1A0FE03B-EF53-47D7-8AE0-ACE3B6D6A76E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23"/>
          <ac:grpSpMkLst>
            <pc:docMk/>
            <pc:sldMk cId="2974865944" sldId="326"/>
            <ac:grpSpMk id="123" creationId="{5205963C-3F88-46CC-8694-B0CD79A86F96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22"/>
          <ac:grpSpMkLst>
            <pc:docMk/>
            <pc:sldMk cId="2974865944" sldId="326"/>
            <ac:grpSpMk id="133" creationId="{48A6576A-4771-46C4-B26F-DED0B5C92E79}"/>
          </ac:grpSpMkLst>
        </pc:grpChg>
        <pc:grpChg chg="del">
          <ac:chgData name="rhashimoto@hks.harvard.edu" userId="S::urn:spo:guest#rhashimoto@hks.harvard.edu::" providerId="AD" clId="Web-{BB3E9BF3-24DD-6C8F-58A8-7D4A1CC03DDD}" dt="2020-12-07T01:11:34.243" v="20"/>
          <ac:grpSpMkLst>
            <pc:docMk/>
            <pc:sldMk cId="2974865944" sldId="326"/>
            <ac:grpSpMk id="153" creationId="{AB3BDA1C-F9C0-470F-8D08-46224E1A9B74}"/>
          </ac:grpSpMkLst>
        </pc:grpChg>
        <pc:picChg chg="add del mod">
          <ac:chgData name="rhashimoto@hks.harvard.edu" userId="S::urn:spo:guest#rhashimoto@hks.harvard.edu::" providerId="AD" clId="Web-{BB3E9BF3-24DD-6C8F-58A8-7D4A1CC03DDD}" dt="2020-12-07T01:13:03.433" v="72"/>
          <ac:picMkLst>
            <pc:docMk/>
            <pc:sldMk cId="2974865944" sldId="326"/>
            <ac:picMk id="13" creationId="{3B4B6EDD-AF35-4F91-A981-1ACC68A3B2BF}"/>
          </ac:picMkLst>
        </pc:picChg>
        <pc:picChg chg="add mod ord">
          <ac:chgData name="rhashimoto@hks.harvard.edu" userId="S::urn:spo:guest#rhashimoto@hks.harvard.edu::" providerId="AD" clId="Web-{BB3E9BF3-24DD-6C8F-58A8-7D4A1CC03DDD}" dt="2020-12-07T01:24:33.030" v="211"/>
          <ac:picMkLst>
            <pc:docMk/>
            <pc:sldMk cId="2974865944" sldId="326"/>
            <ac:picMk id="14" creationId="{F297AAD5-5386-4CD7-9835-C8347EFA1434}"/>
          </ac:picMkLst>
        </pc:picChg>
        <pc:cxnChg chg="del">
          <ac:chgData name="rhashimoto@hks.harvard.edu" userId="S::urn:spo:guest#rhashimoto@hks.harvard.edu::" providerId="AD" clId="Web-{BB3E9BF3-24DD-6C8F-58A8-7D4A1CC03DDD}" dt="2020-12-07T01:11:34.243" v="28"/>
          <ac:cxnSpMkLst>
            <pc:docMk/>
            <pc:sldMk cId="2974865944" sldId="326"/>
            <ac:cxnSpMk id="117" creationId="{680A1ED4-E8EE-4DC1-A413-60F432C8F678}"/>
          </ac:cxnSpMkLst>
        </pc:cxnChg>
      </pc:sldChg>
      <pc:sldChg chg="modSp add replId">
        <pc:chgData name="rhashimoto@hks.harvard.edu" userId="S::urn:spo:guest#rhashimoto@hks.harvard.edu::" providerId="AD" clId="Web-{BB3E9BF3-24DD-6C8F-58A8-7D4A1CC03DDD}" dt="2020-12-07T01:21:00.977" v="209"/>
        <pc:sldMkLst>
          <pc:docMk/>
          <pc:sldMk cId="1799938795" sldId="327"/>
        </pc:sldMkLst>
        <pc:spChg chg="mod">
          <ac:chgData name="rhashimoto@hks.harvard.edu" userId="S::urn:spo:guest#rhashimoto@hks.harvard.edu::" providerId="AD" clId="Web-{BB3E9BF3-24DD-6C8F-58A8-7D4A1CC03DDD}" dt="2020-12-07T01:19:25.256" v="204" actId="20577"/>
          <ac:spMkLst>
            <pc:docMk/>
            <pc:sldMk cId="1799938795" sldId="327"/>
            <ac:spMk id="8" creationId="{8877635F-823A-4ABD-B484-DE8588AA46A8}"/>
          </ac:spMkLst>
        </pc:spChg>
        <pc:picChg chg="mod">
          <ac:chgData name="rhashimoto@hks.harvard.edu" userId="S::urn:spo:guest#rhashimoto@hks.harvard.edu::" providerId="AD" clId="Web-{BB3E9BF3-24DD-6C8F-58A8-7D4A1CC03DDD}" dt="2020-12-07T01:21:00.977" v="209"/>
          <ac:picMkLst>
            <pc:docMk/>
            <pc:sldMk cId="1799938795" sldId="327"/>
            <ac:picMk id="14" creationId="{F297AAD5-5386-4CD7-9835-C8347EFA1434}"/>
          </ac:picMkLst>
        </pc:picChg>
      </pc:sldChg>
      <pc:sldChg chg="add del replId">
        <pc:chgData name="rhashimoto@hks.harvard.edu" userId="S::urn:spo:guest#rhashimoto@hks.harvard.edu::" providerId="AD" clId="Web-{BB3E9BF3-24DD-6C8F-58A8-7D4A1CC03DDD}" dt="2020-12-07T01:34:20.874" v="232"/>
        <pc:sldMkLst>
          <pc:docMk/>
          <pc:sldMk cId="490582735" sldId="328"/>
        </pc:sldMkLst>
      </pc:sldChg>
      <pc:sldChg chg="modSp add replId">
        <pc:chgData name="rhashimoto@hks.harvard.edu" userId="S::urn:spo:guest#rhashimoto@hks.harvard.edu::" providerId="AD" clId="Web-{BB3E9BF3-24DD-6C8F-58A8-7D4A1CC03DDD}" dt="2020-12-07T01:34:10.827" v="229" actId="20577"/>
        <pc:sldMkLst>
          <pc:docMk/>
          <pc:sldMk cId="256247962" sldId="329"/>
        </pc:sldMkLst>
        <pc:spChg chg="mod">
          <ac:chgData name="rhashimoto@hks.harvard.edu" userId="S::urn:spo:guest#rhashimoto@hks.harvard.edu::" providerId="AD" clId="Web-{BB3E9BF3-24DD-6C8F-58A8-7D4A1CC03DDD}" dt="2020-12-07T01:34:10.827" v="229" actId="20577"/>
          <ac:spMkLst>
            <pc:docMk/>
            <pc:sldMk cId="256247962" sldId="329"/>
            <ac:spMk id="9" creationId="{B0AAEFB1-18A8-4DE6-9E19-C835D37DC5AD}"/>
          </ac:spMkLst>
        </pc:spChg>
      </pc:sldChg>
      <pc:sldChg chg="addSp delSp modSp add replId">
        <pc:chgData name="rhashimoto@hks.harvard.edu" userId="S::urn:spo:guest#rhashimoto@hks.harvard.edu::" providerId="AD" clId="Web-{BB3E9BF3-24DD-6C8F-58A8-7D4A1CC03DDD}" dt="2020-12-07T02:54:51.255" v="1196" actId="1076"/>
        <pc:sldMkLst>
          <pc:docMk/>
          <pc:sldMk cId="636355527" sldId="330"/>
        </pc:sldMkLst>
        <pc:spChg chg="add del">
          <ac:chgData name="rhashimoto@hks.harvard.edu" userId="S::urn:spo:guest#rhashimoto@hks.harvard.edu::" providerId="AD" clId="Web-{BB3E9BF3-24DD-6C8F-58A8-7D4A1CC03DDD}" dt="2020-12-07T01:39:25.882" v="315"/>
          <ac:spMkLst>
            <pc:docMk/>
            <pc:sldMk cId="636355527" sldId="330"/>
            <ac:spMk id="2" creationId="{910B9FB7-EFA0-4198-8A4D-DEDE15DE301F}"/>
          </ac:spMkLst>
        </pc:spChg>
        <pc:spChg chg="mod">
          <ac:chgData name="rhashimoto@hks.harvard.edu" userId="S::urn:spo:guest#rhashimoto@hks.harvard.edu::" providerId="AD" clId="Web-{BB3E9BF3-24DD-6C8F-58A8-7D4A1CC03DDD}" dt="2020-12-07T02:02:58.249" v="464" actId="1076"/>
          <ac:spMkLst>
            <pc:docMk/>
            <pc:sldMk cId="636355527" sldId="330"/>
            <ac:spMk id="7" creationId="{61D75854-4415-4E17-AEAB-9E0A9330A693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40:06.774" v="326"/>
          <ac:spMkLst>
            <pc:docMk/>
            <pc:sldMk cId="636355527" sldId="330"/>
            <ac:spMk id="9" creationId="{DB94E7A0-CEC2-4F07-BA3E-C5DDB3FC08B3}"/>
          </ac:spMkLst>
        </pc:spChg>
        <pc:spChg chg="mod">
          <ac:chgData name="rhashimoto@hks.harvard.edu" userId="S::urn:spo:guest#rhashimoto@hks.harvard.edu::" providerId="AD" clId="Web-{BB3E9BF3-24DD-6C8F-58A8-7D4A1CC03DDD}" dt="2020-12-07T01:57:19.583" v="383" actId="1076"/>
          <ac:spMkLst>
            <pc:docMk/>
            <pc:sldMk cId="636355527" sldId="330"/>
            <ac:spMk id="10" creationId="{E7FB5E50-C110-4645-8045-906AD0D3E313}"/>
          </ac:spMkLst>
        </pc:spChg>
        <pc:spChg chg="add mod">
          <ac:chgData name="rhashimoto@hks.harvard.edu" userId="S::urn:spo:guest#rhashimoto@hks.harvard.edu::" providerId="AD" clId="Web-{BB3E9BF3-24DD-6C8F-58A8-7D4A1CC03DDD}" dt="2020-12-07T01:56:22.847" v="380"/>
          <ac:spMkLst>
            <pc:docMk/>
            <pc:sldMk cId="636355527" sldId="330"/>
            <ac:spMk id="12" creationId="{1D81D92B-A063-4F8D-86AA-61E049663949}"/>
          </ac:spMkLst>
        </pc:spChg>
        <pc:spChg chg="add mod">
          <ac:chgData name="rhashimoto@hks.harvard.edu" userId="S::urn:spo:guest#rhashimoto@hks.harvard.edu::" providerId="AD" clId="Web-{BB3E9BF3-24DD-6C8F-58A8-7D4A1CC03DDD}" dt="2020-12-07T02:08:38.211" v="553" actId="1076"/>
          <ac:spMkLst>
            <pc:docMk/>
            <pc:sldMk cId="636355527" sldId="330"/>
            <ac:spMk id="14" creationId="{0BE95F09-D182-425A-95E1-34169A5C487C}"/>
          </ac:spMkLst>
        </pc:spChg>
        <pc:spChg chg="del mod topLvl">
          <ac:chgData name="rhashimoto@hks.harvard.edu" userId="S::urn:spo:guest#rhashimoto@hks.harvard.edu::" providerId="AD" clId="Web-{BB3E9BF3-24DD-6C8F-58A8-7D4A1CC03DDD}" dt="2020-12-07T01:57:46.647" v="394"/>
          <ac:spMkLst>
            <pc:docMk/>
            <pc:sldMk cId="636355527" sldId="330"/>
            <ac:spMk id="18" creationId="{637489A0-2E6F-4954-B9E7-43F7F30B60DF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031" v="632" actId="1076"/>
          <ac:spMkLst>
            <pc:docMk/>
            <pc:sldMk cId="636355527" sldId="330"/>
            <ac:spMk id="19" creationId="{35A304CE-3E8B-4A07-931E-7549EF25AFE2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062" v="633" actId="1076"/>
          <ac:spMkLst>
            <pc:docMk/>
            <pc:sldMk cId="636355527" sldId="330"/>
            <ac:spMk id="22" creationId="{E1FB600C-D32F-4036-AD81-BF549B8002F7}"/>
          </ac:spMkLst>
        </pc:spChg>
        <pc:spChg chg="add mod">
          <ac:chgData name="rhashimoto@hks.harvard.edu" userId="S::urn:spo:guest#rhashimoto@hks.harvard.edu::" providerId="AD" clId="Web-{BB3E9BF3-24DD-6C8F-58A8-7D4A1CC03DDD}" dt="2020-12-07T02:54:36.552" v="1193"/>
          <ac:spMkLst>
            <pc:docMk/>
            <pc:sldMk cId="636355527" sldId="330"/>
            <ac:spMk id="25" creationId="{EF6831AC-42DB-4DCD-B859-3737CCF869EA}"/>
          </ac:spMkLst>
        </pc:spChg>
        <pc:spChg chg="add mod">
          <ac:chgData name="rhashimoto@hks.harvard.edu" userId="S::urn:spo:guest#rhashimoto@hks.harvard.edu::" providerId="AD" clId="Web-{BB3E9BF3-24DD-6C8F-58A8-7D4A1CC03DDD}" dt="2020-12-07T02:54:51.255" v="1196" actId="1076"/>
          <ac:spMkLst>
            <pc:docMk/>
            <pc:sldMk cId="636355527" sldId="330"/>
            <ac:spMk id="26" creationId="{DC85C318-37F9-47BC-8CDE-3F33192C7071}"/>
          </ac:spMkLst>
        </pc:spChg>
        <pc:spChg chg="mod">
          <ac:chgData name="rhashimoto@hks.harvard.edu" userId="S::urn:spo:guest#rhashimoto@hks.harvard.edu::" providerId="AD" clId="Web-{BB3E9BF3-24DD-6C8F-58A8-7D4A1CC03DDD}" dt="2020-12-07T02:13:06.047" v="637" actId="1076"/>
          <ac:spMkLst>
            <pc:docMk/>
            <pc:sldMk cId="636355527" sldId="330"/>
            <ac:spMk id="36" creationId="{949C1BAC-E1AF-4842-A4C7-431168FB9C94}"/>
          </ac:spMkLst>
        </pc:spChg>
        <pc:spChg chg="del">
          <ac:chgData name="rhashimoto@hks.harvard.edu" userId="S::urn:spo:guest#rhashimoto@hks.harvard.edu::" providerId="AD" clId="Web-{BB3E9BF3-24DD-6C8F-58A8-7D4A1CC03DDD}" dt="2020-12-07T01:36:04.127" v="262"/>
          <ac:spMkLst>
            <pc:docMk/>
            <pc:sldMk cId="636355527" sldId="330"/>
            <ac:spMk id="40" creationId="{1471476D-57EA-4FAC-A540-8310A657EA39}"/>
          </ac:spMkLst>
        </pc:spChg>
        <pc:spChg chg="del">
          <ac:chgData name="rhashimoto@hks.harvard.edu" userId="S::urn:spo:guest#rhashimoto@hks.harvard.edu::" providerId="AD" clId="Web-{BB3E9BF3-24DD-6C8F-58A8-7D4A1CC03DDD}" dt="2020-12-07T01:36:06.330" v="263"/>
          <ac:spMkLst>
            <pc:docMk/>
            <pc:sldMk cId="636355527" sldId="330"/>
            <ac:spMk id="41" creationId="{2E3853B9-5149-4D8C-AE85-8D15BD79F2C2}"/>
          </ac:spMkLst>
        </pc:spChg>
        <pc:spChg chg="del mod">
          <ac:chgData name="rhashimoto@hks.harvard.edu" userId="S::urn:spo:guest#rhashimoto@hks.harvard.edu::" providerId="AD" clId="Web-{BB3E9BF3-24DD-6C8F-58A8-7D4A1CC03DDD}" dt="2020-12-07T01:36:10.127" v="266"/>
          <ac:spMkLst>
            <pc:docMk/>
            <pc:sldMk cId="636355527" sldId="330"/>
            <ac:spMk id="42" creationId="{952A29CC-E3F4-44A9-84DA-BAD4077583D4}"/>
          </ac:spMkLst>
        </pc:spChg>
        <pc:spChg chg="del topLvl">
          <ac:chgData name="rhashimoto@hks.harvard.edu" userId="S::urn:spo:guest#rhashimoto@hks.harvard.edu::" providerId="AD" clId="Web-{BB3E9BF3-24DD-6C8F-58A8-7D4A1CC03DDD}" dt="2020-12-07T01:36:14.455" v="267"/>
          <ac:spMkLst>
            <pc:docMk/>
            <pc:sldMk cId="636355527" sldId="330"/>
            <ac:spMk id="43" creationId="{1323DFB1-7FB8-4025-92E2-FF5C602C7479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22" v="959" actId="1076"/>
          <ac:spMkLst>
            <pc:docMk/>
            <pc:sldMk cId="636355527" sldId="330"/>
            <ac:spMk id="44" creationId="{24C009A9-940D-4226-96E3-F00415B1A58D}"/>
          </ac:spMkLst>
        </pc:spChg>
        <pc:spChg chg="mod">
          <ac:chgData name="rhashimoto@hks.harvard.edu" userId="S::urn:spo:guest#rhashimoto@hks.harvard.edu::" providerId="AD" clId="Web-{BB3E9BF3-24DD-6C8F-58A8-7D4A1CC03DDD}" dt="2020-12-07T01:57:19.630" v="385" actId="1076"/>
          <ac:spMkLst>
            <pc:docMk/>
            <pc:sldMk cId="636355527" sldId="330"/>
            <ac:spMk id="46" creationId="{5EF5A04A-4329-4C5F-A8B1-B5DBE47C849F}"/>
          </ac:spMkLst>
        </pc:spChg>
        <pc:spChg chg="del topLvl">
          <ac:chgData name="rhashimoto@hks.harvard.edu" userId="S::urn:spo:guest#rhashimoto@hks.harvard.edu::" providerId="AD" clId="Web-{BB3E9BF3-24DD-6C8F-58A8-7D4A1CC03DDD}" dt="2020-12-07T01:38:26.881" v="296"/>
          <ac:spMkLst>
            <pc:docMk/>
            <pc:sldMk cId="636355527" sldId="330"/>
            <ac:spMk id="49" creationId="{B25102B5-56D3-4B1B-BED8-0E78CA75DBA9}"/>
          </ac:spMkLst>
        </pc:spChg>
        <pc:spChg chg="del topLvl">
          <ac:chgData name="rhashimoto@hks.harvard.edu" userId="S::urn:spo:guest#rhashimoto@hks.harvard.edu::" providerId="AD" clId="Web-{BB3E9BF3-24DD-6C8F-58A8-7D4A1CC03DDD}" dt="2020-12-07T01:38:24.552" v="295"/>
          <ac:spMkLst>
            <pc:docMk/>
            <pc:sldMk cId="636355527" sldId="330"/>
            <ac:spMk id="50" creationId="{998B0DEE-2ABC-4D5B-AB76-ADEF774D3F1C}"/>
          </ac:spMkLst>
        </pc:spChg>
        <pc:spChg chg="del">
          <ac:chgData name="rhashimoto@hks.harvard.edu" userId="S::urn:spo:guest#rhashimoto@hks.harvard.edu::" providerId="AD" clId="Web-{BB3E9BF3-24DD-6C8F-58A8-7D4A1CC03DDD}" dt="2020-12-07T01:38:23.506" v="294"/>
          <ac:spMkLst>
            <pc:docMk/>
            <pc:sldMk cId="636355527" sldId="330"/>
            <ac:spMk id="51" creationId="{32B54208-3A8D-43F3-9CA3-D5250358A53B}"/>
          </ac:spMkLst>
        </pc:spChg>
        <pc:spChg chg="del">
          <ac:chgData name="rhashimoto@hks.harvard.edu" userId="S::urn:spo:guest#rhashimoto@hks.harvard.edu::" providerId="AD" clId="Web-{BB3E9BF3-24DD-6C8F-58A8-7D4A1CC03DDD}" dt="2020-12-07T01:38:22.709" v="293"/>
          <ac:spMkLst>
            <pc:docMk/>
            <pc:sldMk cId="636355527" sldId="330"/>
            <ac:spMk id="52" creationId="{3967DD6B-B53A-4097-8F5F-216F61349AE2}"/>
          </ac:spMkLst>
        </pc:spChg>
        <pc:spChg chg="del">
          <ac:chgData name="rhashimoto@hks.harvard.edu" userId="S::urn:spo:guest#rhashimoto@hks.harvard.edu::" providerId="AD" clId="Web-{BB3E9BF3-24DD-6C8F-58A8-7D4A1CC03DDD}" dt="2020-12-07T01:38:21.365" v="292"/>
          <ac:spMkLst>
            <pc:docMk/>
            <pc:sldMk cId="636355527" sldId="330"/>
            <ac:spMk id="53" creationId="{EE365F45-6A00-408C-BB58-19FCD3FFCC73}"/>
          </ac:spMkLst>
        </pc:spChg>
        <pc:spChg chg="mod">
          <ac:chgData name="rhashimoto@hks.harvard.edu" userId="S::urn:spo:guest#rhashimoto@hks.harvard.edu::" providerId="AD" clId="Web-{BB3E9BF3-24DD-6C8F-58A8-7D4A1CC03DDD}" dt="2020-12-07T02:32:44.329" v="955" actId="1076"/>
          <ac:spMkLst>
            <pc:docMk/>
            <pc:sldMk cId="636355527" sldId="330"/>
            <ac:spMk id="54" creationId="{61FFCF64-BE59-4FD4-88D9-876E67372C29}"/>
          </ac:spMkLst>
        </pc:spChg>
        <pc:spChg chg="mod">
          <ac:chgData name="rhashimoto@hks.harvard.edu" userId="S::urn:spo:guest#rhashimoto@hks.harvard.edu::" providerId="AD" clId="Web-{BB3E9BF3-24DD-6C8F-58A8-7D4A1CC03DDD}" dt="2020-12-07T02:33:09.095" v="977" actId="20577"/>
          <ac:spMkLst>
            <pc:docMk/>
            <pc:sldMk cId="636355527" sldId="330"/>
            <ac:spMk id="55" creationId="{FF035B74-720A-4EBA-ABA2-41D034780A79}"/>
          </ac:spMkLst>
        </pc:spChg>
        <pc:spChg chg="mod">
          <ac:chgData name="rhashimoto@hks.harvard.edu" userId="S::urn:spo:guest#rhashimoto@hks.harvard.edu::" providerId="AD" clId="Web-{BB3E9BF3-24DD-6C8F-58A8-7D4A1CC03DDD}" dt="2020-12-07T02:32:44.375" v="957" actId="1076"/>
          <ac:spMkLst>
            <pc:docMk/>
            <pc:sldMk cId="636355527" sldId="330"/>
            <ac:spMk id="56" creationId="{300BE465-19DF-4E6A-AE00-B648FDFC4F8E}"/>
          </ac:spMkLst>
        </pc:spChg>
        <pc:spChg chg="mod">
          <ac:chgData name="rhashimoto@hks.harvard.edu" userId="S::urn:spo:guest#rhashimoto@hks.harvard.edu::" providerId="AD" clId="Web-{BB3E9BF3-24DD-6C8F-58A8-7D4A1CC03DDD}" dt="2020-12-07T02:32:44.391" v="958" actId="1076"/>
          <ac:spMkLst>
            <pc:docMk/>
            <pc:sldMk cId="636355527" sldId="330"/>
            <ac:spMk id="59" creationId="{9259D7E4-1AD4-4581-A087-C4ED7A9B1708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32:44.547" v="964" actId="1076"/>
          <ac:spMkLst>
            <pc:docMk/>
            <pc:sldMk cId="636355527" sldId="330"/>
            <ac:spMk id="60" creationId="{3BD99CDE-6CE6-451E-9589-5060FA553EF8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38" v="960" actId="1076"/>
          <ac:spMkLst>
            <pc:docMk/>
            <pc:sldMk cId="636355527" sldId="330"/>
            <ac:spMk id="62" creationId="{32A4CE61-7143-4B28-A387-83097975B942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32:44.563" v="965" actId="1076"/>
          <ac:spMkLst>
            <pc:docMk/>
            <pc:sldMk cId="636355527" sldId="330"/>
            <ac:spMk id="63" creationId="{3B87171A-2363-4AB8-9D32-85F1EEC1BE62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54" v="961" actId="1076"/>
          <ac:spMkLst>
            <pc:docMk/>
            <pc:sldMk cId="636355527" sldId="330"/>
            <ac:spMk id="65" creationId="{C1F255B2-CE5E-463F-B469-E08F8D900E9F}"/>
          </ac:spMkLst>
        </pc:spChg>
        <pc:spChg chg="mod">
          <ac:chgData name="rhashimoto@hks.harvard.edu" userId="S::urn:spo:guest#rhashimoto@hks.harvard.edu::" providerId="AD" clId="Web-{BB3E9BF3-24DD-6C8F-58A8-7D4A1CC03DDD}" dt="2020-12-07T02:32:44.485" v="962" actId="1076"/>
          <ac:spMkLst>
            <pc:docMk/>
            <pc:sldMk cId="636355527" sldId="330"/>
            <ac:spMk id="66" creationId="{1CF9105A-41A7-47DF-B52B-D7C8B99A6D52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9"/>
          <ac:spMkLst>
            <pc:docMk/>
            <pc:sldMk cId="636355527" sldId="330"/>
            <ac:spMk id="74" creationId="{47E6BD76-35F9-4CA1-BD24-34D98CB191FA}"/>
          </ac:spMkLst>
        </pc:spChg>
        <pc:spChg chg="mod">
          <ac:chgData name="rhashimoto@hks.harvard.edu" userId="S::urn:spo:guest#rhashimoto@hks.harvard.edu::" providerId="AD" clId="Web-{BB3E9BF3-24DD-6C8F-58A8-7D4A1CC03DDD}" dt="2020-12-07T02:22:43.515" v="782" actId="1076"/>
          <ac:spMkLst>
            <pc:docMk/>
            <pc:sldMk cId="636355527" sldId="330"/>
            <ac:spMk id="76" creationId="{F589206D-95F1-41D7-94C9-E83BB7098A85}"/>
          </ac:spMkLst>
        </pc:spChg>
        <pc:spChg chg="mod">
          <ac:chgData name="rhashimoto@hks.harvard.edu" userId="S::urn:spo:guest#rhashimoto@hks.harvard.edu::" providerId="AD" clId="Web-{BB3E9BF3-24DD-6C8F-58A8-7D4A1CC03DDD}" dt="2020-12-07T02:22:45.343" v="783" actId="1076"/>
          <ac:spMkLst>
            <pc:docMk/>
            <pc:sldMk cId="636355527" sldId="330"/>
            <ac:spMk id="77" creationId="{DD2F2326-8B9F-4166-A115-1D91AB87C409}"/>
          </ac:spMkLst>
        </pc:spChg>
        <pc:spChg chg="del mod">
          <ac:chgData name="rhashimoto@hks.harvard.edu" userId="S::urn:spo:guest#rhashimoto@hks.harvard.edu::" providerId="AD" clId="Web-{BB3E9BF3-24DD-6C8F-58A8-7D4A1CC03DDD}" dt="2020-12-07T02:15:42.660" v="673"/>
          <ac:spMkLst>
            <pc:docMk/>
            <pc:sldMk cId="636355527" sldId="330"/>
            <ac:spMk id="78" creationId="{B619AD74-C5F7-4302-98EB-848F8B7BC0FD}"/>
          </ac:spMkLst>
        </pc:spChg>
        <pc:spChg chg="del mod">
          <ac:chgData name="rhashimoto@hks.harvard.edu" userId="S::urn:spo:guest#rhashimoto@hks.harvard.edu::" providerId="AD" clId="Web-{BB3E9BF3-24DD-6C8F-58A8-7D4A1CC03DDD}" dt="2020-12-07T02:15:37.535" v="671"/>
          <ac:spMkLst>
            <pc:docMk/>
            <pc:sldMk cId="636355527" sldId="330"/>
            <ac:spMk id="79" creationId="{3994B7AA-4E99-4694-9CDF-790524B1ACCE}"/>
          </ac:spMkLst>
        </pc:spChg>
        <pc:spChg chg="del">
          <ac:chgData name="rhashimoto@hks.harvard.edu" userId="S::urn:spo:guest#rhashimoto@hks.harvard.edu::" providerId="AD" clId="Web-{BB3E9BF3-24DD-6C8F-58A8-7D4A1CC03DDD}" dt="2020-12-07T02:15:34.660" v="669"/>
          <ac:spMkLst>
            <pc:docMk/>
            <pc:sldMk cId="636355527" sldId="330"/>
            <ac:spMk id="80" creationId="{4FBCFE8E-35BE-4E0A-B009-0E24E7ED0F6B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32:44.594" v="966" actId="1076"/>
          <ac:spMkLst>
            <pc:docMk/>
            <pc:sldMk cId="636355527" sldId="330"/>
            <ac:spMk id="82" creationId="{A87BA4E3-E235-4001-AF64-A21E6FD8B366}"/>
          </ac:spMkLst>
        </pc:spChg>
        <pc:spChg chg="del">
          <ac:chgData name="rhashimoto@hks.harvard.edu" userId="S::urn:spo:guest#rhashimoto@hks.harvard.edu::" providerId="AD" clId="Web-{BB3E9BF3-24DD-6C8F-58A8-7D4A1CC03DDD}" dt="2020-12-07T02:15:15.191" v="665"/>
          <ac:spMkLst>
            <pc:docMk/>
            <pc:sldMk cId="636355527" sldId="330"/>
            <ac:spMk id="83" creationId="{6389E9DF-BB04-40EB-A591-ACE64DC2A140}"/>
          </ac:spMkLst>
        </pc:spChg>
        <pc:spChg chg="del">
          <ac:chgData name="rhashimoto@hks.harvard.edu" userId="S::urn:spo:guest#rhashimoto@hks.harvard.edu::" providerId="AD" clId="Web-{BB3E9BF3-24DD-6C8F-58A8-7D4A1CC03DDD}" dt="2020-12-07T02:15:17.597" v="666"/>
          <ac:spMkLst>
            <pc:docMk/>
            <pc:sldMk cId="636355527" sldId="330"/>
            <ac:spMk id="84" creationId="{9D2ABC45-0962-487B-803D-E0A56D35446C}"/>
          </ac:spMkLst>
        </pc:spChg>
        <pc:spChg chg="del">
          <ac:chgData name="rhashimoto@hks.harvard.edu" userId="S::urn:spo:guest#rhashimoto@hks.harvard.edu::" providerId="AD" clId="Web-{BB3E9BF3-24DD-6C8F-58A8-7D4A1CC03DDD}" dt="2020-12-07T02:15:19.050" v="667"/>
          <ac:spMkLst>
            <pc:docMk/>
            <pc:sldMk cId="636355527" sldId="330"/>
            <ac:spMk id="85" creationId="{A8C207C4-BACA-4398-8BC5-EE1E7B718708}"/>
          </ac:spMkLst>
        </pc:spChg>
        <pc:spChg chg="del topLvl">
          <ac:chgData name="rhashimoto@hks.harvard.edu" userId="S::urn:spo:guest#rhashimoto@hks.harvard.edu::" providerId="AD" clId="Web-{BB3E9BF3-24DD-6C8F-58A8-7D4A1CC03DDD}" dt="2020-12-07T02:15:21.410" v="668"/>
          <ac:spMkLst>
            <pc:docMk/>
            <pc:sldMk cId="636355527" sldId="330"/>
            <ac:spMk id="86" creationId="{93ACFB86-D983-4135-A5F8-53BAFEADE814}"/>
          </ac:spMkLst>
        </pc:spChg>
        <pc:spChg chg="mod">
          <ac:chgData name="rhashimoto@hks.harvard.edu" userId="S::urn:spo:guest#rhashimoto@hks.harvard.edu::" providerId="AD" clId="Web-{BB3E9BF3-24DD-6C8F-58A8-7D4A1CC03DDD}" dt="2020-12-07T02:32:44.610" v="967" actId="1076"/>
          <ac:spMkLst>
            <pc:docMk/>
            <pc:sldMk cId="636355527" sldId="330"/>
            <ac:spMk id="87" creationId="{FD6B039C-D7CC-4D97-B95F-1361242B5170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5"/>
          <ac:spMkLst>
            <pc:docMk/>
            <pc:sldMk cId="636355527" sldId="330"/>
            <ac:spMk id="88" creationId="{D7216B4F-B5B0-44BF-9D82-BBF64FF63F0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4"/>
          <ac:spMkLst>
            <pc:docMk/>
            <pc:sldMk cId="636355527" sldId="330"/>
            <ac:spMk id="89" creationId="{24FFC47B-4596-48E5-B378-C258F7F3F6F5}"/>
          </ac:spMkLst>
        </pc:spChg>
        <pc:spChg chg="mod">
          <ac:chgData name="rhashimoto@hks.harvard.edu" userId="S::urn:spo:guest#rhashimoto@hks.harvard.edu::" providerId="AD" clId="Web-{BB3E9BF3-24DD-6C8F-58A8-7D4A1CC03DDD}" dt="2020-12-07T02:03:17.640" v="470" actId="1076"/>
          <ac:spMkLst>
            <pc:docMk/>
            <pc:sldMk cId="636355527" sldId="330"/>
            <ac:spMk id="90" creationId="{DAC0203C-7B4D-4B9C-A042-B91F9D4D5DC3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57:30.412" v="388"/>
          <ac:spMkLst>
            <pc:docMk/>
            <pc:sldMk cId="636355527" sldId="330"/>
            <ac:spMk id="91" creationId="{4D66363B-F177-488C-AE38-E60E9B2F6575}"/>
          </ac:spMkLst>
        </pc:spChg>
        <pc:spChg chg="del mod">
          <ac:chgData name="rhashimoto@hks.harvard.edu" userId="S::urn:spo:guest#rhashimoto@hks.harvard.edu::" providerId="AD" clId="Web-{BB3E9BF3-24DD-6C8F-58A8-7D4A1CC03DDD}" dt="2020-12-07T02:13:32.688" v="641"/>
          <ac:spMkLst>
            <pc:docMk/>
            <pc:sldMk cId="636355527" sldId="330"/>
            <ac:spMk id="92" creationId="{A30F00B6-2047-46B5-8C31-DA71383E4AF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3"/>
          <ac:spMkLst>
            <pc:docMk/>
            <pc:sldMk cId="636355527" sldId="330"/>
            <ac:spMk id="94" creationId="{BC050F31-83BE-4497-BCC2-141ACC39C51C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22"/>
          <ac:spMkLst>
            <pc:docMk/>
            <pc:sldMk cId="636355527" sldId="330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BB3E9BF3-24DD-6C8F-58A8-7D4A1CC03DDD}" dt="2020-12-07T02:21:07.169" v="763" actId="14100"/>
          <ac:spMkLst>
            <pc:docMk/>
            <pc:sldMk cId="636355527" sldId="330"/>
            <ac:spMk id="97" creationId="{1D8E2CBB-4147-4C36-862D-077CE0D51F46}"/>
          </ac:spMkLst>
        </pc:spChg>
        <pc:spChg chg="mod">
          <ac:chgData name="rhashimoto@hks.harvard.edu" userId="S::urn:spo:guest#rhashimoto@hks.harvard.edu::" providerId="AD" clId="Web-{BB3E9BF3-24DD-6C8F-58A8-7D4A1CC03DDD}" dt="2020-12-07T02:22:29.718" v="779" actId="1076"/>
          <ac:spMkLst>
            <pc:docMk/>
            <pc:sldMk cId="636355527" sldId="330"/>
            <ac:spMk id="98" creationId="{448B4E81-7592-4A38-B99F-B8F004AE6DE1}"/>
          </ac:spMkLst>
        </pc:spChg>
        <pc:spChg chg="del">
          <ac:chgData name="rhashimoto@hks.harvard.edu" userId="S::urn:spo:guest#rhashimoto@hks.harvard.edu::" providerId="AD" clId="Web-{BB3E9BF3-24DD-6C8F-58A8-7D4A1CC03DDD}" dt="2020-12-07T02:18:22.618" v="708"/>
          <ac:spMkLst>
            <pc:docMk/>
            <pc:sldMk cId="636355527" sldId="330"/>
            <ac:spMk id="99" creationId="{D4C5153D-5841-4716-9C21-D5EAC7D0B3FF}"/>
          </ac:spMkLst>
        </pc:spChg>
        <pc:spChg chg="del">
          <ac:chgData name="rhashimoto@hks.harvard.edu" userId="S::urn:spo:guest#rhashimoto@hks.harvard.edu::" providerId="AD" clId="Web-{BB3E9BF3-24DD-6C8F-58A8-7D4A1CC03DDD}" dt="2020-12-07T02:18:20.946" v="707"/>
          <ac:spMkLst>
            <pc:docMk/>
            <pc:sldMk cId="636355527" sldId="330"/>
            <ac:spMk id="100" creationId="{9B0E0A31-F4AB-473D-8FF3-78FB42E0EB65}"/>
          </ac:spMkLst>
        </pc:spChg>
        <pc:spChg chg="del mod">
          <ac:chgData name="rhashimoto@hks.harvard.edu" userId="S::urn:spo:guest#rhashimoto@hks.harvard.edu::" providerId="AD" clId="Web-{BB3E9BF3-24DD-6C8F-58A8-7D4A1CC03DDD}" dt="2020-12-07T02:18:18.649" v="706"/>
          <ac:spMkLst>
            <pc:docMk/>
            <pc:sldMk cId="636355527" sldId="330"/>
            <ac:spMk id="101" creationId="{5C482F3E-E988-48E4-8160-A4115915DFE0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1"/>
          <ac:spMkLst>
            <pc:docMk/>
            <pc:sldMk cId="636355527" sldId="330"/>
            <ac:spMk id="105" creationId="{C77AB881-33B0-45B8-A110-6FFC2586468F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8"/>
          <ac:spMkLst>
            <pc:docMk/>
            <pc:sldMk cId="636355527" sldId="330"/>
            <ac:spMk id="107" creationId="{B7A0D04F-E6E7-4402-B3F5-A9DB1F65869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7"/>
          <ac:spMkLst>
            <pc:docMk/>
            <pc:sldMk cId="636355527" sldId="330"/>
            <ac:spMk id="108" creationId="{E20E70F4-F7A2-4A3F-A36F-560767CBD4CD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6"/>
          <ac:spMkLst>
            <pc:docMk/>
            <pc:sldMk cId="636355527" sldId="330"/>
            <ac:spMk id="109" creationId="{F5FF9D95-62F7-4154-B754-0B4918321F83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5"/>
          <ac:spMkLst>
            <pc:docMk/>
            <pc:sldMk cId="636355527" sldId="330"/>
            <ac:spMk id="110" creationId="{A35A3E30-91E2-461E-A4E0-2ABA79AAC9A5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81" v="414"/>
          <ac:spMkLst>
            <pc:docMk/>
            <pc:sldMk cId="636355527" sldId="330"/>
            <ac:spMk id="111" creationId="{2A2F134C-15D6-4B8F-BA40-715103E945FB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3"/>
          <ac:spMkLst>
            <pc:docMk/>
            <pc:sldMk cId="636355527" sldId="330"/>
            <ac:spMk id="112" creationId="{5547C13F-B6AE-4737-89B5-83D55FE88638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2"/>
          <ac:spMkLst>
            <pc:docMk/>
            <pc:sldMk cId="636355527" sldId="330"/>
            <ac:spMk id="113" creationId="{47258DD5-9385-4AF8-9C17-F5E4373390F9}"/>
          </ac:spMkLst>
        </pc:spChg>
        <pc:spChg chg="mod">
          <ac:chgData name="rhashimoto@hks.harvard.edu" userId="S::urn:spo:guest#rhashimoto@hks.harvard.edu::" providerId="AD" clId="Web-{BB3E9BF3-24DD-6C8F-58A8-7D4A1CC03DDD}" dt="2020-12-07T02:24:24.252" v="815"/>
          <ac:spMkLst>
            <pc:docMk/>
            <pc:sldMk cId="636355527" sldId="330"/>
            <ac:spMk id="114" creationId="{0E815614-DED2-445B-A3E0-62391BEB252D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10"/>
          <ac:spMkLst>
            <pc:docMk/>
            <pc:sldMk cId="636355527" sldId="330"/>
            <ac:spMk id="115" creationId="{2F160279-0717-4B08-B99D-72D7147AE38D}"/>
          </ac:spMkLst>
        </pc:spChg>
        <pc:spChg chg="mod">
          <ac:chgData name="rhashimoto@hks.harvard.edu" userId="S::urn:spo:guest#rhashimoto@hks.harvard.edu::" providerId="AD" clId="Web-{BB3E9BF3-24DD-6C8F-58A8-7D4A1CC03DDD}" dt="2020-12-07T02:24:31.393" v="816"/>
          <ac:spMkLst>
            <pc:docMk/>
            <pc:sldMk cId="636355527" sldId="330"/>
            <ac:spMk id="119" creationId="{5A05931F-DE07-4A16-8A18-E77FBE212BB8}"/>
          </ac:spMkLst>
        </pc:spChg>
        <pc:spChg chg="del">
          <ac:chgData name="rhashimoto@hks.harvard.edu" userId="S::urn:spo:guest#rhashimoto@hks.harvard.edu::" providerId="AD" clId="Web-{BB3E9BF3-24DD-6C8F-58A8-7D4A1CC03DDD}" dt="2020-12-07T01:59:26.165" v="408"/>
          <ac:spMkLst>
            <pc:docMk/>
            <pc:sldMk cId="636355527" sldId="330"/>
            <ac:spMk id="120" creationId="{DB6D1DF5-8030-485E-A747-80D34784D123}"/>
          </ac:spMkLst>
        </pc:spChg>
        <pc:spChg chg="mod">
          <ac:chgData name="rhashimoto@hks.harvard.edu" userId="S::urn:spo:guest#rhashimoto@hks.harvard.edu::" providerId="AD" clId="Web-{BB3E9BF3-24DD-6C8F-58A8-7D4A1CC03DDD}" dt="2020-12-07T02:53:46.847" v="1176" actId="14100"/>
          <ac:spMkLst>
            <pc:docMk/>
            <pc:sldMk cId="636355527" sldId="330"/>
            <ac:spMk id="121" creationId="{C6103FAC-FB25-4813-92D9-92812518F61B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39:35.898" v="318"/>
          <ac:spMkLst>
            <pc:docMk/>
            <pc:sldMk cId="636355527" sldId="330"/>
            <ac:spMk id="122" creationId="{43C72080-9CE5-4FA8-B99E-DC3BAFE9F0F3}"/>
          </ac:spMkLst>
        </pc:spChg>
        <pc:spChg chg="add del mod">
          <ac:chgData name="rhashimoto@hks.harvard.edu" userId="S::urn:spo:guest#rhashimoto@hks.harvard.edu::" providerId="AD" clId="Web-{BB3E9BF3-24DD-6C8F-58A8-7D4A1CC03DDD}" dt="2020-12-07T01:39:55.039" v="322"/>
          <ac:spMkLst>
            <pc:docMk/>
            <pc:sldMk cId="636355527" sldId="330"/>
            <ac:spMk id="123" creationId="{AF02DC6C-BDF3-45A3-998D-67EA3043C49F}"/>
          </ac:spMkLst>
        </pc:spChg>
        <pc:spChg chg="del mod">
          <ac:chgData name="rhashimoto@hks.harvard.edu" userId="S::urn:spo:guest#rhashimoto@hks.harvard.edu::" providerId="AD" clId="Web-{BB3E9BF3-24DD-6C8F-58A8-7D4A1CC03DDD}" dt="2020-12-07T02:40:55.936" v="1053"/>
          <ac:spMkLst>
            <pc:docMk/>
            <pc:sldMk cId="636355527" sldId="330"/>
            <ac:spMk id="124" creationId="{437A2383-5328-4EA5-968D-D76B17A2C3EA}"/>
          </ac:spMkLst>
        </pc:spChg>
        <pc:spChg chg="mod">
          <ac:chgData name="rhashimoto@hks.harvard.edu" userId="S::urn:spo:guest#rhashimoto@hks.harvard.edu::" providerId="AD" clId="Web-{BB3E9BF3-24DD-6C8F-58A8-7D4A1CC03DDD}" dt="2020-12-07T01:54:40.860" v="358"/>
          <ac:spMkLst>
            <pc:docMk/>
            <pc:sldMk cId="636355527" sldId="330"/>
            <ac:spMk id="134" creationId="{DE079A8E-1F42-4CA0-A790-DCD5F9243529}"/>
          </ac:spMkLst>
        </pc:spChg>
        <pc:spChg chg="mod">
          <ac:chgData name="rhashimoto@hks.harvard.edu" userId="S::urn:spo:guest#rhashimoto@hks.harvard.edu::" providerId="AD" clId="Web-{BB3E9BF3-24DD-6C8F-58A8-7D4A1CC03DDD}" dt="2020-12-07T01:54:37.204" v="357"/>
          <ac:spMkLst>
            <pc:docMk/>
            <pc:sldMk cId="636355527" sldId="330"/>
            <ac:spMk id="135" creationId="{C8163420-C5D8-4EF4-87DA-06AC91673CF0}"/>
          </ac:spMkLst>
        </pc:spChg>
        <pc:spChg chg="mod">
          <ac:chgData name="rhashimoto@hks.harvard.edu" userId="S::urn:spo:guest#rhashimoto@hks.harvard.edu::" providerId="AD" clId="Web-{BB3E9BF3-24DD-6C8F-58A8-7D4A1CC03DDD}" dt="2020-12-07T01:54:33.719" v="356"/>
          <ac:spMkLst>
            <pc:docMk/>
            <pc:sldMk cId="636355527" sldId="330"/>
            <ac:spMk id="136" creationId="{9501DEA5-E319-46B5-89B7-9527A78D4244}"/>
          </ac:spMkLst>
        </pc:spChg>
        <pc:spChg chg="mod">
          <ac:chgData name="rhashimoto@hks.harvard.edu" userId="S::urn:spo:guest#rhashimoto@hks.harvard.edu::" providerId="AD" clId="Web-{BB3E9BF3-24DD-6C8F-58A8-7D4A1CC03DDD}" dt="2020-12-07T01:54:29.907" v="355"/>
          <ac:spMkLst>
            <pc:docMk/>
            <pc:sldMk cId="636355527" sldId="330"/>
            <ac:spMk id="137" creationId="{DFE6B03A-583F-4A32-9821-4E7EE95296F8}"/>
          </ac:spMkLst>
        </pc:spChg>
        <pc:spChg chg="mod">
          <ac:chgData name="rhashimoto@hks.harvard.edu" userId="S::urn:spo:guest#rhashimoto@hks.harvard.edu::" providerId="AD" clId="Web-{BB3E9BF3-24DD-6C8F-58A8-7D4A1CC03DDD}" dt="2020-12-07T01:56:12.894" v="378"/>
          <ac:spMkLst>
            <pc:docMk/>
            <pc:sldMk cId="636355527" sldId="330"/>
            <ac:spMk id="138" creationId="{5B1928AB-5D5D-4EF4-A5F1-8F4336070BFD}"/>
          </ac:spMkLst>
        </pc:spChg>
        <pc:spChg chg="add mod">
          <ac:chgData name="rhashimoto@hks.harvard.edu" userId="S::urn:spo:guest#rhashimoto@hks.harvard.edu::" providerId="AD" clId="Web-{BB3E9BF3-24DD-6C8F-58A8-7D4A1CC03DDD}" dt="2020-12-07T02:02:09.951" v="461" actId="1076"/>
          <ac:spMkLst>
            <pc:docMk/>
            <pc:sldMk cId="636355527" sldId="330"/>
            <ac:spMk id="139" creationId="{1A9ACCC7-A9F5-4CD0-BDB3-071DA8E55BA7}"/>
          </ac:spMkLst>
        </pc:spChg>
        <pc:spChg chg="add mod">
          <ac:chgData name="rhashimoto@hks.harvard.edu" userId="S::urn:spo:guest#rhashimoto@hks.harvard.edu::" providerId="AD" clId="Web-{BB3E9BF3-24DD-6C8F-58A8-7D4A1CC03DDD}" dt="2020-12-07T01:56:19.082" v="379"/>
          <ac:spMkLst>
            <pc:docMk/>
            <pc:sldMk cId="636355527" sldId="330"/>
            <ac:spMk id="141" creationId="{419F8841-C0C2-43A4-B98C-DC67C5126ABD}"/>
          </ac:spMkLst>
        </pc:spChg>
        <pc:spChg chg="add mod">
          <ac:chgData name="rhashimoto@hks.harvard.edu" userId="S::urn:spo:guest#rhashimoto@hks.harvard.edu::" providerId="AD" clId="Web-{BB3E9BF3-24DD-6C8F-58A8-7D4A1CC03DDD}" dt="2020-12-07T02:08:38.242" v="554" actId="1076"/>
          <ac:spMkLst>
            <pc:docMk/>
            <pc:sldMk cId="636355527" sldId="330"/>
            <ac:spMk id="143" creationId="{85D872FA-1629-4AE7-A24A-2B78FFC216BE}"/>
          </ac:spMkLst>
        </pc:spChg>
        <pc:spChg chg="add mod">
          <ac:chgData name="rhashimoto@hks.harvard.edu" userId="S::urn:spo:guest#rhashimoto@hks.harvard.edu::" providerId="AD" clId="Web-{BB3E9BF3-24DD-6C8F-58A8-7D4A1CC03DDD}" dt="2020-12-07T02:05:01.471" v="503" actId="20577"/>
          <ac:spMkLst>
            <pc:docMk/>
            <pc:sldMk cId="636355527" sldId="330"/>
            <ac:spMk id="145" creationId="{1EBE3FC3-8820-4563-BCBD-BA9872BAC380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078" v="634" actId="1076"/>
          <ac:spMkLst>
            <pc:docMk/>
            <pc:sldMk cId="636355527" sldId="330"/>
            <ac:spMk id="147" creationId="{57DE242A-D634-4995-98A5-999B35774B19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109" v="635" actId="1076"/>
          <ac:spMkLst>
            <pc:docMk/>
            <pc:sldMk cId="636355527" sldId="330"/>
            <ac:spMk id="148" creationId="{9CE6960C-E0D6-4332-943A-785E7457EB6F}"/>
          </ac:spMkLst>
        </pc:spChg>
        <pc:spChg chg="add mod">
          <ac:chgData name="rhashimoto@hks.harvard.edu" userId="S::urn:spo:guest#rhashimoto@hks.harvard.edu::" providerId="AD" clId="Web-{BB3E9BF3-24DD-6C8F-58A8-7D4A1CC03DDD}" dt="2020-12-07T02:12:59.124" v="636" actId="1076"/>
          <ac:spMkLst>
            <pc:docMk/>
            <pc:sldMk cId="636355527" sldId="330"/>
            <ac:spMk id="149" creationId="{7D7FBDB5-CBAB-4022-897E-790F5D1DF1E4}"/>
          </ac:spMkLst>
        </pc:spChg>
        <pc:spChg chg="add del">
          <ac:chgData name="rhashimoto@hks.harvard.edu" userId="S::urn:spo:guest#rhashimoto@hks.harvard.edu::" providerId="AD" clId="Web-{BB3E9BF3-24DD-6C8F-58A8-7D4A1CC03DDD}" dt="2020-12-07T02:13:37.407" v="645"/>
          <ac:spMkLst>
            <pc:docMk/>
            <pc:sldMk cId="636355527" sldId="330"/>
            <ac:spMk id="150" creationId="{F64620C8-D9B3-4311-AEA1-802ED1F67C40}"/>
          </ac:spMkLst>
        </pc:spChg>
        <pc:spChg chg="add del">
          <ac:chgData name="rhashimoto@hks.harvard.edu" userId="S::urn:spo:guest#rhashimoto@hks.harvard.edu::" providerId="AD" clId="Web-{BB3E9BF3-24DD-6C8F-58A8-7D4A1CC03DDD}" dt="2020-12-07T02:13:37.407" v="644"/>
          <ac:spMkLst>
            <pc:docMk/>
            <pc:sldMk cId="636355527" sldId="330"/>
            <ac:spMk id="151" creationId="{F0FDBD96-12E6-4EA1-9CA5-BFE3BE84F0FF}"/>
          </ac:spMkLst>
        </pc:spChg>
        <pc:spChg chg="topLvl">
          <ac:chgData name="rhashimoto@hks.harvard.edu" userId="S::urn:spo:guest#rhashimoto@hks.harvard.edu::" providerId="AD" clId="Web-{BB3E9BF3-24DD-6C8F-58A8-7D4A1CC03DDD}" dt="2020-12-07T02:44:36.332" v="1066"/>
          <ac:spMkLst>
            <pc:docMk/>
            <pc:sldMk cId="636355527" sldId="330"/>
            <ac:spMk id="156" creationId="{7CFDC072-2D75-4871-A864-9A2E5D9DD62D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44:36.332" v="1066"/>
          <ac:spMkLst>
            <pc:docMk/>
            <pc:sldMk cId="636355527" sldId="330"/>
            <ac:spMk id="157" creationId="{527E4725-5505-468D-B3C7-148B730DC9A2}"/>
          </ac:spMkLst>
        </pc:spChg>
        <pc:spChg chg="mod topLvl">
          <ac:chgData name="rhashimoto@hks.harvard.edu" userId="S::urn:spo:guest#rhashimoto@hks.harvard.edu::" providerId="AD" clId="Web-{BB3E9BF3-24DD-6C8F-58A8-7D4A1CC03DDD}" dt="2020-12-07T02:44:36.332" v="1066"/>
          <ac:spMkLst>
            <pc:docMk/>
            <pc:sldMk cId="636355527" sldId="330"/>
            <ac:spMk id="158" creationId="{5B895ECD-3A10-481B-B212-3374F686518A}"/>
          </ac:spMkLst>
        </pc:spChg>
        <pc:spChg chg="add mod">
          <ac:chgData name="rhashimoto@hks.harvard.edu" userId="S::urn:spo:guest#rhashimoto@hks.harvard.edu::" providerId="AD" clId="Web-{BB3E9BF3-24DD-6C8F-58A8-7D4A1CC03DDD}" dt="2020-12-07T02:48:33.120" v="1165"/>
          <ac:spMkLst>
            <pc:docMk/>
            <pc:sldMk cId="636355527" sldId="330"/>
            <ac:spMk id="159" creationId="{24CBC3D8-4814-4254-B8F9-0BD9DDA9C2BD}"/>
          </ac:spMkLst>
        </pc:spChg>
        <pc:spChg chg="add mod">
          <ac:chgData name="rhashimoto@hks.harvard.edu" userId="S::urn:spo:guest#rhashimoto@hks.harvard.edu::" providerId="AD" clId="Web-{BB3E9BF3-24DD-6C8F-58A8-7D4A1CC03DDD}" dt="2020-12-07T02:48:28.292" v="1164"/>
          <ac:spMkLst>
            <pc:docMk/>
            <pc:sldMk cId="636355527" sldId="330"/>
            <ac:spMk id="160" creationId="{BD6843CA-0F6B-4152-B5CB-98C2429D2D36}"/>
          </ac:spMkLst>
        </pc:spChg>
        <pc:spChg chg="add mod">
          <ac:chgData name="rhashimoto@hks.harvard.edu" userId="S::urn:spo:guest#rhashimoto@hks.harvard.edu::" providerId="AD" clId="Web-{BB3E9BF3-24DD-6C8F-58A8-7D4A1CC03DDD}" dt="2020-12-07T02:44:44.614" v="1068" actId="1076"/>
          <ac:spMkLst>
            <pc:docMk/>
            <pc:sldMk cId="636355527" sldId="330"/>
            <ac:spMk id="162" creationId="{3FF417EC-DE95-4AF0-99DD-63802B35B232}"/>
          </ac:spMkLst>
        </pc:spChg>
        <pc:spChg chg="add mod">
          <ac:chgData name="rhashimoto@hks.harvard.edu" userId="S::urn:spo:guest#rhashimoto@hks.harvard.edu::" providerId="AD" clId="Web-{BB3E9BF3-24DD-6C8F-58A8-7D4A1CC03DDD}" dt="2020-12-07T02:44:53.473" v="1070" actId="1076"/>
          <ac:spMkLst>
            <pc:docMk/>
            <pc:sldMk cId="636355527" sldId="330"/>
            <ac:spMk id="163" creationId="{1B4BEB1D-3600-4F98-9368-B2F731593DC2}"/>
          </ac:spMkLst>
        </pc:spChg>
        <pc:spChg chg="add mod">
          <ac:chgData name="rhashimoto@hks.harvard.edu" userId="S::urn:spo:guest#rhashimoto@hks.harvard.edu::" providerId="AD" clId="Web-{BB3E9BF3-24DD-6C8F-58A8-7D4A1CC03DDD}" dt="2020-12-07T02:44:59.333" v="1071" actId="1076"/>
          <ac:spMkLst>
            <pc:docMk/>
            <pc:sldMk cId="636355527" sldId="330"/>
            <ac:spMk id="164" creationId="{42301B5C-A6BF-4127-B974-450155542337}"/>
          </ac:spMkLst>
        </pc:spChg>
        <pc:spChg chg="add del mod">
          <ac:chgData name="rhashimoto@hks.harvard.edu" userId="S::urn:spo:guest#rhashimoto@hks.harvard.edu::" providerId="AD" clId="Web-{BB3E9BF3-24DD-6C8F-58A8-7D4A1CC03DDD}" dt="2020-12-07T02:44:21.285" v="1063"/>
          <ac:spMkLst>
            <pc:docMk/>
            <pc:sldMk cId="636355527" sldId="330"/>
            <ac:spMk id="165" creationId="{49C29678-174B-4F1D-B894-EE66C1249D47}"/>
          </ac:spMkLst>
        </pc:spChg>
        <pc:spChg chg="add mod">
          <ac:chgData name="rhashimoto@hks.harvard.edu" userId="S::urn:spo:guest#rhashimoto@hks.harvard.edu::" providerId="AD" clId="Web-{BB3E9BF3-24DD-6C8F-58A8-7D4A1CC03DDD}" dt="2020-12-07T02:47:45.541" v="1162" actId="20577"/>
          <ac:spMkLst>
            <pc:docMk/>
            <pc:sldMk cId="636355527" sldId="330"/>
            <ac:spMk id="166" creationId="{436B5FC7-0C2A-4E9B-BD9A-F858767207F6}"/>
          </ac:spMkLst>
        </pc:spChg>
        <pc:spChg chg="add mod">
          <ac:chgData name="rhashimoto@hks.harvard.edu" userId="S::urn:spo:guest#rhashimoto@hks.harvard.edu::" providerId="AD" clId="Web-{BB3E9BF3-24DD-6C8F-58A8-7D4A1CC03DDD}" dt="2020-12-07T02:46:27.304" v="1112" actId="1076"/>
          <ac:spMkLst>
            <pc:docMk/>
            <pc:sldMk cId="636355527" sldId="330"/>
            <ac:spMk id="167" creationId="{2BE81E32-875E-4B7E-9091-46D7E846BCE7}"/>
          </ac:spMkLst>
        </pc:spChg>
        <pc:spChg chg="add mod">
          <ac:chgData name="rhashimoto@hks.harvard.edu" userId="S::urn:spo:guest#rhashimoto@hks.harvard.edu::" providerId="AD" clId="Web-{BB3E9BF3-24DD-6C8F-58A8-7D4A1CC03DDD}" dt="2020-12-07T02:52:37.314" v="1168" actId="20577"/>
          <ac:spMkLst>
            <pc:docMk/>
            <pc:sldMk cId="636355527" sldId="330"/>
            <ac:spMk id="168" creationId="{79D0B87C-20AA-44FE-B692-1733994AACAA}"/>
          </ac:spMkLst>
        </pc:spChg>
        <pc:spChg chg="add mod">
          <ac:chgData name="rhashimoto@hks.harvard.edu" userId="S::urn:spo:guest#rhashimoto@hks.harvard.edu::" providerId="AD" clId="Web-{BB3E9BF3-24DD-6C8F-58A8-7D4A1CC03DDD}" dt="2020-12-07T02:54:36.583" v="1194"/>
          <ac:spMkLst>
            <pc:docMk/>
            <pc:sldMk cId="636355527" sldId="330"/>
            <ac:spMk id="169" creationId="{EE1CA35D-7869-4392-9225-B045953BA53A}"/>
          </ac:spMkLst>
        </pc:spChg>
        <pc:grpChg chg="add del">
          <ac:chgData name="rhashimoto@hks.harvard.edu" userId="S::urn:spo:guest#rhashimoto@hks.harvard.edu::" providerId="AD" clId="Web-{BB3E9BF3-24DD-6C8F-58A8-7D4A1CC03DDD}" dt="2020-12-07T01:39:25.882" v="314"/>
          <ac:grpSpMkLst>
            <pc:docMk/>
            <pc:sldMk cId="636355527" sldId="330"/>
            <ac:grpSpMk id="3" creationId="{3FA819B7-9E58-451B-B4E1-A2D3FA043B6F}"/>
          </ac:grpSpMkLst>
        </pc:grpChg>
        <pc:grpChg chg="add mod">
          <ac:chgData name="rhashimoto@hks.harvard.edu" userId="S::urn:spo:guest#rhashimoto@hks.harvard.edu::" providerId="AD" clId="Web-{BB3E9BF3-24DD-6C8F-58A8-7D4A1CC03DDD}" dt="2020-12-07T01:55:23.111" v="366" actId="1076"/>
          <ac:grpSpMkLst>
            <pc:docMk/>
            <pc:sldMk cId="636355527" sldId="330"/>
            <ac:grpSpMk id="11" creationId="{9AB621E7-ECC0-4841-B061-A17AB8CED4A7}"/>
          </ac:grpSpMkLst>
        </pc:grpChg>
        <pc:grpChg chg="add mod">
          <ac:chgData name="rhashimoto@hks.harvard.edu" userId="S::urn:spo:guest#rhashimoto@hks.harvard.edu::" providerId="AD" clId="Web-{BB3E9BF3-24DD-6C8F-58A8-7D4A1CC03DDD}" dt="2020-12-07T02:08:38.196" v="552" actId="1076"/>
          <ac:grpSpMkLst>
            <pc:docMk/>
            <pc:sldMk cId="636355527" sldId="330"/>
            <ac:grpSpMk id="13" creationId="{589D78AF-6209-457E-B427-0192033A62E9}"/>
          </ac:grpSpMkLst>
        </pc:grpChg>
        <pc:grpChg chg="del">
          <ac:chgData name="rhashimoto@hks.harvard.edu" userId="S::urn:spo:guest#rhashimoto@hks.harvard.edu::" providerId="AD" clId="Web-{BB3E9BF3-24DD-6C8F-58A8-7D4A1CC03DDD}" dt="2020-12-07T01:36:14.455" v="267"/>
          <ac:grpSpMkLst>
            <pc:docMk/>
            <pc:sldMk cId="636355527" sldId="330"/>
            <ac:grpSpMk id="20" creationId="{0F920116-1AD9-4FF1-AABA-0B9E70921ADB}"/>
          </ac:grpSpMkLst>
        </pc:grpChg>
        <pc:grpChg chg="add del mod">
          <ac:chgData name="rhashimoto@hks.harvard.edu" userId="S::urn:spo:guest#rhashimoto@hks.harvard.edu::" providerId="AD" clId="Web-{BB3E9BF3-24DD-6C8F-58A8-7D4A1CC03DDD}" dt="2020-12-07T02:22:20.187" v="777"/>
          <ac:grpSpMkLst>
            <pc:docMk/>
            <pc:sldMk cId="636355527" sldId="330"/>
            <ac:grpSpMk id="23" creationId="{CA4894A3-A1D6-4DCB-9185-2B187E739C94}"/>
          </ac:grpSpMkLst>
        </pc:grpChg>
        <pc:grpChg chg="add del mod">
          <ac:chgData name="rhashimoto@hks.harvard.edu" userId="S::urn:spo:guest#rhashimoto@hks.harvard.edu::" providerId="AD" clId="Web-{BB3E9BF3-24DD-6C8F-58A8-7D4A1CC03DDD}" dt="2020-12-07T02:44:36.332" v="1066"/>
          <ac:grpSpMkLst>
            <pc:docMk/>
            <pc:sldMk cId="636355527" sldId="330"/>
            <ac:grpSpMk id="24" creationId="{3D441431-0540-4603-B6D0-334A821A10D7}"/>
          </ac:grpSpMkLst>
        </pc:grpChg>
        <pc:grpChg chg="mod">
          <ac:chgData name="rhashimoto@hks.harvard.edu" userId="S::urn:spo:guest#rhashimoto@hks.harvard.edu::" providerId="AD" clId="Web-{BB3E9BF3-24DD-6C8F-58A8-7D4A1CC03DDD}" dt="2020-12-07T02:32:36.578" v="954" actId="1076"/>
          <ac:grpSpMkLst>
            <pc:docMk/>
            <pc:sldMk cId="636355527" sldId="330"/>
            <ac:grpSpMk id="37" creationId="{E4941536-0BCB-4D42-A7CD-265416A355F5}"/>
          </ac:grpSpMkLst>
        </pc:grpChg>
        <pc:grpChg chg="del">
          <ac:chgData name="rhashimoto@hks.harvard.edu" userId="S::urn:spo:guest#rhashimoto@hks.harvard.edu::" providerId="AD" clId="Web-{BB3E9BF3-24DD-6C8F-58A8-7D4A1CC03DDD}" dt="2020-12-07T01:59:26.181" v="421"/>
          <ac:grpSpMkLst>
            <pc:docMk/>
            <pc:sldMk cId="636355527" sldId="330"/>
            <ac:grpSpMk id="45" creationId="{14CA7EC3-943F-43DC-9889-F76DB050DE3F}"/>
          </ac:grpSpMkLst>
        </pc:grpChg>
        <pc:grpChg chg="del mod">
          <ac:chgData name="rhashimoto@hks.harvard.edu" userId="S::urn:spo:guest#rhashimoto@hks.harvard.edu::" providerId="AD" clId="Web-{BB3E9BF3-24DD-6C8F-58A8-7D4A1CC03DDD}" dt="2020-12-07T01:38:24.552" v="295"/>
          <ac:grpSpMkLst>
            <pc:docMk/>
            <pc:sldMk cId="636355527" sldId="330"/>
            <ac:grpSpMk id="47" creationId="{1A0FE03B-EF53-47D7-8AE0-ACE3B6D6A76E}"/>
          </ac:grpSpMkLst>
        </pc:grpChg>
        <pc:grpChg chg="del">
          <ac:chgData name="rhashimoto@hks.harvard.edu" userId="S::urn:spo:guest#rhashimoto@hks.harvard.edu::" providerId="AD" clId="Web-{BB3E9BF3-24DD-6C8F-58A8-7D4A1CC03DDD}" dt="2020-12-07T01:59:26.181" v="420"/>
          <ac:grpSpMkLst>
            <pc:docMk/>
            <pc:sldMk cId="636355527" sldId="330"/>
            <ac:grpSpMk id="61" creationId="{698A4F11-65CF-4C11-A66E-01C2BE701DEA}"/>
          </ac:grpSpMkLst>
        </pc:grpChg>
        <pc:grpChg chg="mod">
          <ac:chgData name="rhashimoto@hks.harvard.edu" userId="S::urn:spo:guest#rhashimoto@hks.harvard.edu::" providerId="AD" clId="Web-{BB3E9BF3-24DD-6C8F-58A8-7D4A1CC03DDD}" dt="2020-12-07T02:32:44.516" v="963" actId="1076"/>
          <ac:grpSpMkLst>
            <pc:docMk/>
            <pc:sldMk cId="636355527" sldId="330"/>
            <ac:grpSpMk id="75" creationId="{4B7674F1-4D18-4805-85CB-137D16F3C504}"/>
          </ac:grpSpMkLst>
        </pc:grpChg>
        <pc:grpChg chg="del mod">
          <ac:chgData name="rhashimoto@hks.harvard.edu" userId="S::urn:spo:guest#rhashimoto@hks.harvard.edu::" providerId="AD" clId="Web-{BB3E9BF3-24DD-6C8F-58A8-7D4A1CC03DDD}" dt="2020-12-07T02:15:21.410" v="668"/>
          <ac:grpSpMkLst>
            <pc:docMk/>
            <pc:sldMk cId="636355527" sldId="330"/>
            <ac:grpSpMk id="81" creationId="{CCDD6EE7-7795-466B-8A02-7B3A9B0B67AB}"/>
          </ac:grpSpMkLst>
        </pc:grpChg>
        <pc:grpChg chg="mod">
          <ac:chgData name="rhashimoto@hks.harvard.edu" userId="S::urn:spo:guest#rhashimoto@hks.harvard.edu::" providerId="AD" clId="Web-{BB3E9BF3-24DD-6C8F-58A8-7D4A1CC03DDD}" dt="2020-12-07T02:34:00.268" v="989" actId="1076"/>
          <ac:grpSpMkLst>
            <pc:docMk/>
            <pc:sldMk cId="636355527" sldId="330"/>
            <ac:grpSpMk id="96" creationId="{B1282B5E-2425-41BD-999D-EF1F5F65EB8D}"/>
          </ac:grpSpMkLst>
        </pc:grpChg>
        <pc:grpChg chg="add mod">
          <ac:chgData name="rhashimoto@hks.harvard.edu" userId="S::urn:spo:guest#rhashimoto@hks.harvard.edu::" providerId="AD" clId="Web-{BB3E9BF3-24DD-6C8F-58A8-7D4A1CC03DDD}" dt="2020-12-07T02:32:50.422" v="971" actId="1076"/>
          <ac:grpSpMkLst>
            <pc:docMk/>
            <pc:sldMk cId="636355527" sldId="330"/>
            <ac:grpSpMk id="152" creationId="{6CE5D545-27BF-4A65-BBA3-A9074244AF1C}"/>
          </ac:grpSpMkLst>
        </pc:grpChg>
        <pc:cxnChg chg="add del mod">
          <ac:chgData name="rhashimoto@hks.harvard.edu" userId="S::urn:spo:guest#rhashimoto@hks.harvard.edu::" providerId="AD" clId="Web-{BB3E9BF3-24DD-6C8F-58A8-7D4A1CC03DDD}" dt="2020-12-07T02:13:13.562" v="638" actId="1076"/>
          <ac:cxnSpMkLst>
            <pc:docMk/>
            <pc:sldMk cId="636355527" sldId="330"/>
            <ac:cxnSpMk id="15" creationId="{2B0E3D47-F849-4155-B087-42C7B39D3509}"/>
          </ac:cxnSpMkLst>
        </pc:cxnChg>
        <pc:cxnChg chg="add del mod">
          <ac:chgData name="rhashimoto@hks.harvard.edu" userId="S::urn:spo:guest#rhashimoto@hks.harvard.edu::" providerId="AD" clId="Web-{BB3E9BF3-24DD-6C8F-58A8-7D4A1CC03DDD}" dt="2020-12-07T02:01:21.949" v="455"/>
          <ac:cxnSpMkLst>
            <pc:docMk/>
            <pc:sldMk cId="636355527" sldId="330"/>
            <ac:cxnSpMk id="16" creationId="{CDD3C113-5083-4714-995C-27D0EF64B57E}"/>
          </ac:cxnSpMkLst>
        </pc:cxnChg>
        <pc:cxnChg chg="add del mod">
          <ac:chgData name="rhashimoto@hks.harvard.edu" userId="S::urn:spo:guest#rhashimoto@hks.harvard.edu::" providerId="AD" clId="Web-{BB3E9BF3-24DD-6C8F-58A8-7D4A1CC03DDD}" dt="2020-12-07T02:09:07.868" v="559"/>
          <ac:cxnSpMkLst>
            <pc:docMk/>
            <pc:sldMk cId="636355527" sldId="330"/>
            <ac:cxnSpMk id="21" creationId="{AEBCD59A-AB62-4962-9EB4-87D365394175}"/>
          </ac:cxnSpMkLst>
        </pc:cxnChg>
        <pc:cxnChg chg="del">
          <ac:chgData name="rhashimoto@hks.harvard.edu" userId="S::urn:spo:guest#rhashimoto@hks.harvard.edu::" providerId="AD" clId="Web-{BB3E9BF3-24DD-6C8F-58A8-7D4A1CC03DDD}" dt="2020-12-07T01:59:26.165" v="409"/>
          <ac:cxnSpMkLst>
            <pc:docMk/>
            <pc:sldMk cId="636355527" sldId="330"/>
            <ac:cxnSpMk id="117" creationId="{680A1ED4-E8EE-4DC1-A413-60F432C8F678}"/>
          </ac:cxnSpMkLst>
        </pc:cxnChg>
      </pc:sldChg>
      <pc:sldChg chg="addSp delSp modSp add del replId">
        <pc:chgData name="rhashimoto@hks.harvard.edu" userId="S::urn:spo:guest#rhashimoto@hks.harvard.edu::" providerId="AD" clId="Web-{BB3E9BF3-24DD-6C8F-58A8-7D4A1CC03DDD}" dt="2020-12-07T03:25:08.778" v="1496" actId="20577"/>
        <pc:sldMkLst>
          <pc:docMk/>
          <pc:sldMk cId="3261659482" sldId="331"/>
        </pc:sldMkLst>
        <pc:spChg chg="mod">
          <ac:chgData name="rhashimoto@hks.harvard.edu" userId="S::urn:spo:guest#rhashimoto@hks.harvard.edu::" providerId="AD" clId="Web-{BB3E9BF3-24DD-6C8F-58A8-7D4A1CC03DDD}" dt="2020-12-07T03:25:08.778" v="1496" actId="20577"/>
          <ac:spMkLst>
            <pc:docMk/>
            <pc:sldMk cId="3261659482" sldId="331"/>
            <ac:spMk id="8" creationId="{8877635F-823A-4ABD-B484-DE8588AA46A8}"/>
          </ac:spMkLst>
        </pc:spChg>
        <pc:spChg chg="mod">
          <ac:chgData name="rhashimoto@hks.harvard.edu" userId="S::urn:spo:guest#rhashimoto@hks.harvard.edu::" providerId="AD" clId="Web-{BB3E9BF3-24DD-6C8F-58A8-7D4A1CC03DDD}" dt="2020-12-07T03:24:59.012" v="1492" actId="20577"/>
          <ac:spMkLst>
            <pc:docMk/>
            <pc:sldMk cId="3261659482" sldId="331"/>
            <ac:spMk id="12" creationId="{84106720-FFD5-443F-9D03-3E3697554AC0}"/>
          </ac:spMkLst>
        </pc:spChg>
        <pc:spChg chg="del">
          <ac:chgData name="rhashimoto@hks.harvard.edu" userId="S::urn:spo:guest#rhashimoto@hks.harvard.edu::" providerId="AD" clId="Web-{BB3E9BF3-24DD-6C8F-58A8-7D4A1CC03DDD}" dt="2020-12-07T03:18:58.409" v="1213"/>
          <ac:spMkLst>
            <pc:docMk/>
            <pc:sldMk cId="3261659482" sldId="331"/>
            <ac:spMk id="15" creationId="{0485A34D-1326-4B08-AFD4-CEF290E47BF9}"/>
          </ac:spMkLst>
        </pc:spChg>
        <pc:spChg chg="mod">
          <ac:chgData name="rhashimoto@hks.harvard.edu" userId="S::urn:spo:guest#rhashimoto@hks.harvard.edu::" providerId="AD" clId="Web-{BB3E9BF3-24DD-6C8F-58A8-7D4A1CC03DDD}" dt="2020-12-07T02:58:25.792" v="1198"/>
          <ac:spMkLst>
            <pc:docMk/>
            <pc:sldMk cId="3261659482" sldId="331"/>
            <ac:spMk id="114" creationId="{0E815614-DED2-445B-A3E0-62391BEB252D}"/>
          </ac:spMkLst>
        </pc:spChg>
        <pc:spChg chg="mod">
          <ac:chgData name="rhashimoto@hks.harvard.edu" userId="S::urn:spo:guest#rhashimoto@hks.harvard.edu::" providerId="AD" clId="Web-{BB3E9BF3-24DD-6C8F-58A8-7D4A1CC03DDD}" dt="2020-12-07T02:58:29.402" v="1199"/>
          <ac:spMkLst>
            <pc:docMk/>
            <pc:sldMk cId="3261659482" sldId="331"/>
            <ac:spMk id="118" creationId="{D8F9319A-9FFE-433B-81BC-BB0EE12036FE}"/>
          </ac:spMkLst>
        </pc:spChg>
        <pc:picChg chg="add del mod">
          <ac:chgData name="rhashimoto@hks.harvard.edu" userId="S::urn:spo:guest#rhashimoto@hks.harvard.edu::" providerId="AD" clId="Web-{BB3E9BF3-24DD-6C8F-58A8-7D4A1CC03DDD}" dt="2020-12-07T03:18:37.690" v="1207"/>
          <ac:picMkLst>
            <pc:docMk/>
            <pc:sldMk cId="3261659482" sldId="331"/>
            <ac:picMk id="2" creationId="{6CD88365-4927-45D6-920E-F7FC4F6B0A48}"/>
          </ac:picMkLst>
        </pc:picChg>
        <pc:picChg chg="add del mod">
          <ac:chgData name="rhashimoto@hks.harvard.edu" userId="S::urn:spo:guest#rhashimoto@hks.harvard.edu::" providerId="AD" clId="Web-{BB3E9BF3-24DD-6C8F-58A8-7D4A1CC03DDD}" dt="2020-12-07T03:22:02.382" v="1349"/>
          <ac:picMkLst>
            <pc:docMk/>
            <pc:sldMk cId="3261659482" sldId="331"/>
            <ac:picMk id="3" creationId="{43D8E97B-0C8A-4AA5-ADF8-19F06819BC55}"/>
          </ac:picMkLst>
        </pc:picChg>
        <pc:picChg chg="add del mod">
          <ac:chgData name="rhashimoto@hks.harvard.edu" userId="S::urn:spo:guest#rhashimoto@hks.harvard.edu::" providerId="AD" clId="Web-{BB3E9BF3-24DD-6C8F-58A8-7D4A1CC03DDD}" dt="2020-12-07T03:22:43.571" v="1351"/>
          <ac:picMkLst>
            <pc:docMk/>
            <pc:sldMk cId="3261659482" sldId="331"/>
            <ac:picMk id="7" creationId="{DBCFD191-44FF-4831-A4B6-A7E1E82E2DEC}"/>
          </ac:picMkLst>
        </pc:picChg>
        <pc:picChg chg="add mod">
          <ac:chgData name="rhashimoto@hks.harvard.edu" userId="S::urn:spo:guest#rhashimoto@hks.harvard.edu::" providerId="AD" clId="Web-{BB3E9BF3-24DD-6C8F-58A8-7D4A1CC03DDD}" dt="2020-12-07T03:23:06.181" v="1357" actId="1076"/>
          <ac:picMkLst>
            <pc:docMk/>
            <pc:sldMk cId="3261659482" sldId="331"/>
            <ac:picMk id="9" creationId="{F86C5572-A6AC-4E1D-A22D-9DE28CC6EEC3}"/>
          </ac:picMkLst>
        </pc:picChg>
        <pc:picChg chg="del">
          <ac:chgData name="rhashimoto@hks.harvard.edu" userId="S::urn:spo:guest#rhashimoto@hks.harvard.edu::" providerId="AD" clId="Web-{BB3E9BF3-24DD-6C8F-58A8-7D4A1CC03DDD}" dt="2020-12-07T03:17:50.236" v="1202"/>
          <ac:picMkLst>
            <pc:docMk/>
            <pc:sldMk cId="3261659482" sldId="331"/>
            <ac:picMk id="14" creationId="{F297AAD5-5386-4CD7-9835-C8347EFA1434}"/>
          </ac:picMkLst>
        </pc:picChg>
      </pc:sldChg>
    </pc:docChg>
  </pc:docChgLst>
  <pc:docChgLst>
    <pc:chgData name="luiscorrales@hks.harvard.edu" userId="S::urn:spo:guest#luiscorrales@hks.harvard.edu::" providerId="AD" clId="Web-{DD3B2083-B5DD-BB4C-6F0D-D470C6B5BB33}"/>
    <pc:docChg chg="modSld">
      <pc:chgData name="luiscorrales@hks.harvard.edu" userId="S::urn:spo:guest#luiscorrales@hks.harvard.edu::" providerId="AD" clId="Web-{DD3B2083-B5DD-BB4C-6F0D-D470C6B5BB33}" dt="2020-12-08T01:27:08.220" v="5" actId="1076"/>
      <pc:docMkLst>
        <pc:docMk/>
      </pc:docMkLst>
      <pc:sldChg chg="modSp">
        <pc:chgData name="luiscorrales@hks.harvard.edu" userId="S::urn:spo:guest#luiscorrales@hks.harvard.edu::" providerId="AD" clId="Web-{DD3B2083-B5DD-BB4C-6F0D-D470C6B5BB33}" dt="2020-12-08T01:27:08.220" v="5" actId="1076"/>
        <pc:sldMkLst>
          <pc:docMk/>
          <pc:sldMk cId="772132796" sldId="340"/>
        </pc:sldMkLst>
        <pc:spChg chg="mod">
          <ac:chgData name="luiscorrales@hks.harvard.edu" userId="S::urn:spo:guest#luiscorrales@hks.harvard.edu::" providerId="AD" clId="Web-{DD3B2083-B5DD-BB4C-6F0D-D470C6B5BB33}" dt="2020-12-07T22:59:25.004" v="4"/>
          <ac:spMkLst>
            <pc:docMk/>
            <pc:sldMk cId="772132796" sldId="340"/>
            <ac:spMk id="114" creationId="{0E815614-DED2-445B-A3E0-62391BEB252D}"/>
          </ac:spMkLst>
        </pc:spChg>
        <pc:spChg chg="mod">
          <ac:chgData name="luiscorrales@hks.harvard.edu" userId="S::urn:spo:guest#luiscorrales@hks.harvard.edu::" providerId="AD" clId="Web-{DD3B2083-B5DD-BB4C-6F0D-D470C6B5BB33}" dt="2020-12-07T22:59:20.097" v="3"/>
          <ac:spMkLst>
            <pc:docMk/>
            <pc:sldMk cId="772132796" sldId="340"/>
            <ac:spMk id="116" creationId="{059EA749-ABFA-48B9-80BA-3A0B0201C7AA}"/>
          </ac:spMkLst>
        </pc:spChg>
        <pc:spChg chg="mod">
          <ac:chgData name="luiscorrales@hks.harvard.edu" userId="S::urn:spo:guest#luiscorrales@hks.harvard.edu::" providerId="AD" clId="Web-{DD3B2083-B5DD-BB4C-6F0D-D470C6B5BB33}" dt="2020-12-08T01:27:08.220" v="5" actId="1076"/>
          <ac:spMkLst>
            <pc:docMk/>
            <pc:sldMk cId="772132796" sldId="340"/>
            <ac:spMk id="147" creationId="{57DE242A-D634-4995-98A5-999B35774B19}"/>
          </ac:spMkLst>
        </pc:spChg>
      </pc:sldChg>
    </pc:docChg>
  </pc:docChgLst>
  <pc:docChgLst>
    <pc:chgData name="clement_brenot@hks.harvard.edu" userId="S::urn:spo:guest#clement_brenot@hks.harvard.edu::" providerId="AD" clId="Web-{D887B585-3168-FF39-A758-2AB33093F655}"/>
    <pc:docChg chg="addSld modSld">
      <pc:chgData name="clement_brenot@hks.harvard.edu" userId="S::urn:spo:guest#clement_brenot@hks.harvard.edu::" providerId="AD" clId="Web-{D887B585-3168-FF39-A758-2AB33093F655}" dt="2020-12-08T00:10:26.031" v="64" actId="20577"/>
      <pc:docMkLst>
        <pc:docMk/>
      </pc:docMkLst>
      <pc:sldChg chg="modSp new">
        <pc:chgData name="clement_brenot@hks.harvard.edu" userId="S::urn:spo:guest#clement_brenot@hks.harvard.edu::" providerId="AD" clId="Web-{D887B585-3168-FF39-A758-2AB33093F655}" dt="2020-12-08T00:10:25.297" v="62" actId="20577"/>
        <pc:sldMkLst>
          <pc:docMk/>
          <pc:sldMk cId="2443967825" sldId="342"/>
        </pc:sldMkLst>
        <pc:spChg chg="mod">
          <ac:chgData name="clement_brenot@hks.harvard.edu" userId="S::urn:spo:guest#clement_brenot@hks.harvard.edu::" providerId="AD" clId="Web-{D887B585-3168-FF39-A758-2AB33093F655}" dt="2020-12-08T00:10:25.297" v="62" actId="20577"/>
          <ac:spMkLst>
            <pc:docMk/>
            <pc:sldMk cId="2443967825" sldId="342"/>
            <ac:spMk id="2" creationId="{E0F77930-9255-4CE5-9DD0-D679D7DE43BE}"/>
          </ac:spMkLst>
        </pc:spChg>
      </pc:sldChg>
    </pc:docChg>
  </pc:docChgLst>
  <pc:docChgLst>
    <pc:chgData name="rhashimoto@hks.harvard.edu" userId="S::urn:spo:guest#rhashimoto@hks.harvard.edu::" providerId="AD" clId="Web-{B61DBB64-A828-9721-467E-15801812DA8F}"/>
    <pc:docChg chg="modSld">
      <pc:chgData name="rhashimoto@hks.harvard.edu" userId="S::urn:spo:guest#rhashimoto@hks.harvard.edu::" providerId="AD" clId="Web-{B61DBB64-A828-9721-467E-15801812DA8F}" dt="2020-12-07T23:52:02.210" v="243" actId="20577"/>
      <pc:docMkLst>
        <pc:docMk/>
      </pc:docMkLst>
      <pc:sldChg chg="modSp">
        <pc:chgData name="rhashimoto@hks.harvard.edu" userId="S::urn:spo:guest#rhashimoto@hks.harvard.edu::" providerId="AD" clId="Web-{B61DBB64-A828-9721-467E-15801812DA8F}" dt="2020-12-07T22:53:47.996" v="101" actId="1076"/>
        <pc:sldMkLst>
          <pc:docMk/>
          <pc:sldMk cId="3145321926" sldId="271"/>
        </pc:sldMkLst>
        <pc:spChg chg="mod">
          <ac:chgData name="rhashimoto@hks.harvard.edu" userId="S::urn:spo:guest#rhashimoto@hks.harvard.edu::" providerId="AD" clId="Web-{B61DBB64-A828-9721-467E-15801812DA8F}" dt="2020-12-07T22:53:32.214" v="97" actId="1076"/>
          <ac:spMkLst>
            <pc:docMk/>
            <pc:sldMk cId="3145321926" sldId="271"/>
            <ac:spMk id="7" creationId="{61D75854-4415-4E17-AEAB-9E0A9330A693}"/>
          </ac:spMkLst>
        </pc:spChg>
        <pc:spChg chg="mod">
          <ac:chgData name="rhashimoto@hks.harvard.edu" userId="S::urn:spo:guest#rhashimoto@hks.harvard.edu::" providerId="AD" clId="Web-{B61DBB64-A828-9721-467E-15801812DA8F}" dt="2020-12-07T22:53:21.245" v="93" actId="1076"/>
          <ac:spMkLst>
            <pc:docMk/>
            <pc:sldMk cId="3145321926" sldId="271"/>
            <ac:spMk id="36" creationId="{949C1BAC-E1AF-4842-A4C7-431168FB9C94}"/>
          </ac:spMkLst>
        </pc:spChg>
        <pc:spChg chg="mod">
          <ac:chgData name="rhashimoto@hks.harvard.edu" userId="S::urn:spo:guest#rhashimoto@hks.harvard.edu::" providerId="AD" clId="Web-{B61DBB64-A828-9721-467E-15801812DA8F}" dt="2020-12-07T22:53:21.261" v="94" actId="1076"/>
          <ac:spMkLst>
            <pc:docMk/>
            <pc:sldMk cId="3145321926" sldId="271"/>
            <ac:spMk id="55" creationId="{FF035B74-720A-4EBA-ABA2-41D034780A79}"/>
          </ac:spMkLst>
        </pc:spChg>
        <pc:spChg chg="mod">
          <ac:chgData name="rhashimoto@hks.harvard.edu" userId="S::urn:spo:guest#rhashimoto@hks.harvard.edu::" providerId="AD" clId="Web-{B61DBB64-A828-9721-467E-15801812DA8F}" dt="2020-12-07T22:53:21.292" v="95" actId="1076"/>
          <ac:spMkLst>
            <pc:docMk/>
            <pc:sldMk cId="3145321926" sldId="271"/>
            <ac:spMk id="88" creationId="{D7216B4F-B5B0-44BF-9D82-BBF64FF63F0B}"/>
          </ac:spMkLst>
        </pc:spChg>
        <pc:spChg chg="mod">
          <ac:chgData name="rhashimoto@hks.harvard.edu" userId="S::urn:spo:guest#rhashimoto@hks.harvard.edu::" providerId="AD" clId="Web-{B61DBB64-A828-9721-467E-15801812DA8F}" dt="2020-12-07T22:53:21.323" v="96" actId="1076"/>
          <ac:spMkLst>
            <pc:docMk/>
            <pc:sldMk cId="3145321926" sldId="271"/>
            <ac:spMk id="90" creationId="{DAC0203C-7B4D-4B9C-A042-B91F9D4D5DC3}"/>
          </ac:spMkLst>
        </pc:spChg>
        <pc:spChg chg="mod">
          <ac:chgData name="rhashimoto@hks.harvard.edu" userId="S::urn:spo:guest#rhashimoto@hks.harvard.edu::" providerId="AD" clId="Web-{B61DBB64-A828-9721-467E-15801812DA8F}" dt="2020-12-07T22:53:42.371" v="99" actId="1076"/>
          <ac:spMkLst>
            <pc:docMk/>
            <pc:sldMk cId="3145321926" sldId="271"/>
            <ac:spMk id="92" creationId="{A30F00B6-2047-46B5-8C31-DA71383E4AFB}"/>
          </ac:spMkLst>
        </pc:spChg>
        <pc:spChg chg="mod">
          <ac:chgData name="rhashimoto@hks.harvard.edu" userId="S::urn:spo:guest#rhashimoto@hks.harvard.edu::" providerId="AD" clId="Web-{B61DBB64-A828-9721-467E-15801812DA8F}" dt="2020-12-07T22:53:42.402" v="100" actId="1076"/>
          <ac:spMkLst>
            <pc:docMk/>
            <pc:sldMk cId="3145321926" sldId="271"/>
            <ac:spMk id="120" creationId="{DB6D1DF5-8030-485E-A747-80D34784D123}"/>
          </ac:spMkLst>
        </pc:spChg>
        <pc:spChg chg="mod">
          <ac:chgData name="rhashimoto@hks.harvard.edu" userId="S::urn:spo:guest#rhashimoto@hks.harvard.edu::" providerId="AD" clId="Web-{B61DBB64-A828-9721-467E-15801812DA8F}" dt="2020-12-07T22:53:47.996" v="101" actId="1076"/>
          <ac:spMkLst>
            <pc:docMk/>
            <pc:sldMk cId="3145321926" sldId="271"/>
            <ac:spMk id="121" creationId="{C6103FAC-FB25-4813-92D9-92812518F61B}"/>
          </ac:spMkLst>
        </pc:spChg>
        <pc:grpChg chg="mod">
          <ac:chgData name="rhashimoto@hks.harvard.edu" userId="S::urn:spo:guest#rhashimoto@hks.harvard.edu::" providerId="AD" clId="Web-{B61DBB64-A828-9721-467E-15801812DA8F}" dt="2020-12-07T22:53:42.339" v="98" actId="1076"/>
          <ac:grpSpMkLst>
            <pc:docMk/>
            <pc:sldMk cId="3145321926" sldId="271"/>
            <ac:grpSpMk id="37" creationId="{E4941536-0BCB-4D42-A7CD-265416A355F5}"/>
          </ac:grpSpMkLst>
        </pc:grpChg>
      </pc:sldChg>
      <pc:sldChg chg="addSp delSp modSp">
        <pc:chgData name="rhashimoto@hks.harvard.edu" userId="S::urn:spo:guest#rhashimoto@hks.harvard.edu::" providerId="AD" clId="Web-{B61DBB64-A828-9721-467E-15801812DA8F}" dt="2020-12-07T23:52:02.210" v="243" actId="20577"/>
        <pc:sldMkLst>
          <pc:docMk/>
          <pc:sldMk cId="3952555209" sldId="324"/>
        </pc:sldMkLst>
        <pc:spChg chg="mod">
          <ac:chgData name="rhashimoto@hks.harvard.edu" userId="S::urn:spo:guest#rhashimoto@hks.harvard.edu::" providerId="AD" clId="Web-{B61DBB64-A828-9721-467E-15801812DA8F}" dt="2020-12-07T22:51:43.367" v="70" actId="1076"/>
          <ac:spMkLst>
            <pc:docMk/>
            <pc:sldMk cId="3952555209" sldId="324"/>
            <ac:spMk id="10" creationId="{E7FB5E50-C110-4645-8045-906AD0D3E313}"/>
          </ac:spMkLst>
        </pc:spChg>
        <pc:spChg chg="mod">
          <ac:chgData name="rhashimoto@hks.harvard.edu" userId="S::urn:spo:guest#rhashimoto@hks.harvard.edu::" providerId="AD" clId="Web-{B61DBB64-A828-9721-467E-15801812DA8F}" dt="2020-12-07T22:50:10.708" v="43" actId="20577"/>
          <ac:spMkLst>
            <pc:docMk/>
            <pc:sldMk cId="3952555209" sldId="324"/>
            <ac:spMk id="41" creationId="{2E3853B9-5149-4D8C-AE85-8D15BD79F2C2}"/>
          </ac:spMkLst>
        </pc:spChg>
        <pc:spChg chg="mod">
          <ac:chgData name="rhashimoto@hks.harvard.edu" userId="S::urn:spo:guest#rhashimoto@hks.harvard.edu::" providerId="AD" clId="Web-{B61DBB64-A828-9721-467E-15801812DA8F}" dt="2020-12-07T22:50:14.021" v="45" actId="20577"/>
          <ac:spMkLst>
            <pc:docMk/>
            <pc:sldMk cId="3952555209" sldId="324"/>
            <ac:spMk id="42" creationId="{952A29CC-E3F4-44A9-84DA-BAD4077583D4}"/>
          </ac:spMkLst>
        </pc:spChg>
        <pc:spChg chg="mod">
          <ac:chgData name="rhashimoto@hks.harvard.edu" userId="S::urn:spo:guest#rhashimoto@hks.harvard.edu::" providerId="AD" clId="Web-{B61DBB64-A828-9721-467E-15801812DA8F}" dt="2020-12-07T23:52:02.210" v="243" actId="20577"/>
          <ac:spMkLst>
            <pc:docMk/>
            <pc:sldMk cId="3952555209" sldId="324"/>
            <ac:spMk id="46" creationId="{5EF5A04A-4329-4C5F-A8B1-B5DBE47C849F}"/>
          </ac:spMkLst>
        </pc:spChg>
        <pc:spChg chg="mod">
          <ac:chgData name="rhashimoto@hks.harvard.edu" userId="S::urn:spo:guest#rhashimoto@hks.harvard.edu::" providerId="AD" clId="Web-{B61DBB64-A828-9721-467E-15801812DA8F}" dt="2020-12-07T23:45:20.823" v="183" actId="1076"/>
          <ac:spMkLst>
            <pc:docMk/>
            <pc:sldMk cId="3952555209" sldId="324"/>
            <ac:spMk id="54" creationId="{61FFCF64-BE59-4FD4-88D9-876E67372C29}"/>
          </ac:spMkLst>
        </pc:spChg>
        <pc:spChg chg="mod">
          <ac:chgData name="rhashimoto@hks.harvard.edu" userId="S::urn:spo:guest#rhashimoto@hks.harvard.edu::" providerId="AD" clId="Web-{B61DBB64-A828-9721-467E-15801812DA8F}" dt="2020-12-07T22:51:43.445" v="72" actId="1076"/>
          <ac:spMkLst>
            <pc:docMk/>
            <pc:sldMk cId="3952555209" sldId="324"/>
            <ac:spMk id="91" creationId="{282FC822-A632-4FB7-B9A0-82BDB7E226C7}"/>
          </ac:spMkLst>
        </pc:spChg>
        <pc:spChg chg="mod">
          <ac:chgData name="rhashimoto@hks.harvard.edu" userId="S::urn:spo:guest#rhashimoto@hks.harvard.edu::" providerId="AD" clId="Web-{B61DBB64-A828-9721-467E-15801812DA8F}" dt="2020-12-07T23:43:17.054" v="127" actId="20577"/>
          <ac:spMkLst>
            <pc:docMk/>
            <pc:sldMk cId="3952555209" sldId="324"/>
            <ac:spMk id="95" creationId="{413F7D67-8AC4-47C7-B46A-A54DFC9F8972}"/>
          </ac:spMkLst>
        </pc:spChg>
        <pc:spChg chg="mod">
          <ac:chgData name="rhashimoto@hks.harvard.edu" userId="S::urn:spo:guest#rhashimoto@hks.harvard.edu::" providerId="AD" clId="Web-{B61DBB64-A828-9721-467E-15801812DA8F}" dt="2020-12-07T23:44:01.758" v="169" actId="1076"/>
          <ac:spMkLst>
            <pc:docMk/>
            <pc:sldMk cId="3952555209" sldId="324"/>
            <ac:spMk id="110" creationId="{736FC1A6-AFE9-497F-B430-F77FD07B6467}"/>
          </ac:spMkLst>
        </pc:spChg>
        <pc:grpChg chg="mod">
          <ac:chgData name="rhashimoto@hks.harvard.edu" userId="S::urn:spo:guest#rhashimoto@hks.harvard.edu::" providerId="AD" clId="Web-{B61DBB64-A828-9721-467E-15801812DA8F}" dt="2020-12-07T23:45:29.464" v="184" actId="1076"/>
          <ac:grpSpMkLst>
            <pc:docMk/>
            <pc:sldMk cId="3952555209" sldId="324"/>
            <ac:grpSpMk id="2" creationId="{AF6B2874-3319-43CB-A2A0-275260CA16BA}"/>
          </ac:grpSpMkLst>
        </pc:grpChg>
        <pc:grpChg chg="del mod">
          <ac:chgData name="rhashimoto@hks.harvard.edu" userId="S::urn:spo:guest#rhashimoto@hks.harvard.edu::" providerId="AD" clId="Web-{B61DBB64-A828-9721-467E-15801812DA8F}" dt="2020-12-07T23:44:53.494" v="174"/>
          <ac:grpSpMkLst>
            <pc:docMk/>
            <pc:sldMk cId="3952555209" sldId="324"/>
            <ac:grpSpMk id="11" creationId="{CED62419-CD79-4C68-ACC2-7014A4AE3BD2}"/>
          </ac:grpSpMkLst>
        </pc:grpChg>
        <pc:grpChg chg="mod">
          <ac:chgData name="rhashimoto@hks.harvard.edu" userId="S::urn:spo:guest#rhashimoto@hks.harvard.edu::" providerId="AD" clId="Web-{B61DBB64-A828-9721-467E-15801812DA8F}" dt="2020-12-07T22:51:43.414" v="71" actId="1076"/>
          <ac:grpSpMkLst>
            <pc:docMk/>
            <pc:sldMk cId="3952555209" sldId="324"/>
            <ac:grpSpMk id="20" creationId="{0F920116-1AD9-4FF1-AABA-0B9E70921ADB}"/>
          </ac:grpSpMkLst>
        </pc:grpChg>
        <pc:grpChg chg="add mod">
          <ac:chgData name="rhashimoto@hks.harvard.edu" userId="S::urn:spo:guest#rhashimoto@hks.harvard.edu::" providerId="AD" clId="Web-{B61DBB64-A828-9721-467E-15801812DA8F}" dt="2020-12-07T23:45:29.573" v="186" actId="1076"/>
          <ac:grpSpMkLst>
            <pc:docMk/>
            <pc:sldMk cId="3952555209" sldId="324"/>
            <ac:grpSpMk id="108" creationId="{94F4BF0C-F4E3-4E48-A430-63B9ED741D8F}"/>
          </ac:grpSpMkLst>
        </pc:grpChg>
        <pc:grpChg chg="mod">
          <ac:chgData name="rhashimoto@hks.harvard.edu" userId="S::urn:spo:guest#rhashimoto@hks.harvard.edu::" providerId="AD" clId="Web-{B61DBB64-A828-9721-467E-15801812DA8F}" dt="2020-12-07T23:45:42.886" v="187" actId="1076"/>
          <ac:grpSpMkLst>
            <pc:docMk/>
            <pc:sldMk cId="3952555209" sldId="324"/>
            <ac:grpSpMk id="123" creationId="{5205963C-3F88-46CC-8694-B0CD79A86F96}"/>
          </ac:grpSpMkLst>
        </pc:grpChg>
        <pc:grpChg chg="del mod">
          <ac:chgData name="rhashimoto@hks.harvard.edu" userId="S::urn:spo:guest#rhashimoto@hks.harvard.edu::" providerId="AD" clId="Web-{B61DBB64-A828-9721-467E-15801812DA8F}" dt="2020-12-07T23:44:53.494" v="175"/>
          <ac:grpSpMkLst>
            <pc:docMk/>
            <pc:sldMk cId="3952555209" sldId="324"/>
            <ac:grpSpMk id="133" creationId="{48A6576A-4771-46C4-B26F-DED0B5C92E79}"/>
          </ac:grpSpMkLst>
        </pc:grpChg>
      </pc:sldChg>
      <pc:sldChg chg="addSp modSp">
        <pc:chgData name="rhashimoto@hks.harvard.edu" userId="S::urn:spo:guest#rhashimoto@hks.harvard.edu::" providerId="AD" clId="Web-{B61DBB64-A828-9721-467E-15801812DA8F}" dt="2020-12-07T23:51:05.224" v="205" actId="20577"/>
        <pc:sldMkLst>
          <pc:docMk/>
          <pc:sldMk cId="636355527" sldId="330"/>
        </pc:sldMkLst>
        <pc:spChg chg="add mod">
          <ac:chgData name="rhashimoto@hks.harvard.edu" userId="S::urn:spo:guest#rhashimoto@hks.harvard.edu::" providerId="AD" clId="Web-{B61DBB64-A828-9721-467E-15801812DA8F}" dt="2020-12-07T22:46:22.920" v="11" actId="1076"/>
          <ac:spMkLst>
            <pc:docMk/>
            <pc:sldMk cId="636355527" sldId="330"/>
            <ac:spMk id="2" creationId="{740F3163-DA24-4D18-8C7A-456B8F06BF7B}"/>
          </ac:spMkLst>
        </pc:spChg>
        <pc:spChg chg="mod">
          <ac:chgData name="rhashimoto@hks.harvard.edu" userId="S::urn:spo:guest#rhashimoto@hks.harvard.edu::" providerId="AD" clId="Web-{B61DBB64-A828-9721-467E-15801812DA8F}" dt="2020-12-07T22:52:26.759" v="86" actId="20577"/>
          <ac:spMkLst>
            <pc:docMk/>
            <pc:sldMk cId="636355527" sldId="330"/>
            <ac:spMk id="19" creationId="{35A304CE-3E8B-4A07-931E-7549EF25AFE2}"/>
          </ac:spMkLst>
        </pc:spChg>
        <pc:spChg chg="mod">
          <ac:chgData name="rhashimoto@hks.harvard.edu" userId="S::urn:spo:guest#rhashimoto@hks.harvard.edu::" providerId="AD" clId="Web-{B61DBB64-A828-9721-467E-15801812DA8F}" dt="2020-12-07T23:51:05.224" v="205" actId="20577"/>
          <ac:spMkLst>
            <pc:docMk/>
            <pc:sldMk cId="636355527" sldId="330"/>
            <ac:spMk id="139" creationId="{1A9ACCC7-A9F5-4CD0-BDB3-071DA8E55BA7}"/>
          </ac:spMkLst>
        </pc:spChg>
        <pc:spChg chg="mod">
          <ac:chgData name="rhashimoto@hks.harvard.edu" userId="S::urn:spo:guest#rhashimoto@hks.harvard.edu::" providerId="AD" clId="Web-{B61DBB64-A828-9721-467E-15801812DA8F}" dt="2020-12-07T22:46:18.670" v="10" actId="20577"/>
          <ac:spMkLst>
            <pc:docMk/>
            <pc:sldMk cId="636355527" sldId="330"/>
            <ac:spMk id="143" creationId="{85D872FA-1629-4AE7-A24A-2B78FFC216BE}"/>
          </ac:spMkLst>
        </pc:spChg>
        <pc:spChg chg="mod">
          <ac:chgData name="rhashimoto@hks.harvard.edu" userId="S::urn:spo:guest#rhashimoto@hks.harvard.edu::" providerId="AD" clId="Web-{B61DBB64-A828-9721-467E-15801812DA8F}" dt="2020-12-07T22:52:33.619" v="87" actId="20577"/>
          <ac:spMkLst>
            <pc:docMk/>
            <pc:sldMk cId="636355527" sldId="330"/>
            <ac:spMk id="147" creationId="{57DE242A-D634-4995-98A5-999B35774B19}"/>
          </ac:spMkLst>
        </pc:spChg>
        <pc:spChg chg="mod">
          <ac:chgData name="rhashimoto@hks.harvard.edu" userId="S::urn:spo:guest#rhashimoto@hks.harvard.edu::" providerId="AD" clId="Web-{B61DBB64-A828-9721-467E-15801812DA8F}" dt="2020-12-07T22:52:41.978" v="92" actId="20577"/>
          <ac:spMkLst>
            <pc:docMk/>
            <pc:sldMk cId="636355527" sldId="330"/>
            <ac:spMk id="149" creationId="{7D7FBDB5-CBAB-4022-897E-790F5D1DF1E4}"/>
          </ac:spMkLst>
        </pc:spChg>
      </pc:sldChg>
      <pc:sldChg chg="modSp">
        <pc:chgData name="rhashimoto@hks.harvard.edu" userId="S::urn:spo:guest#rhashimoto@hks.harvard.edu::" providerId="AD" clId="Web-{B61DBB64-A828-9721-467E-15801812DA8F}" dt="2020-12-07T23:16:57.115" v="119"/>
        <pc:sldMkLst>
          <pc:docMk/>
          <pc:sldMk cId="3261659482" sldId="331"/>
        </pc:sldMkLst>
        <pc:spChg chg="mod">
          <ac:chgData name="rhashimoto@hks.harvard.edu" userId="S::urn:spo:guest#rhashimoto@hks.harvard.edu::" providerId="AD" clId="Web-{B61DBB64-A828-9721-467E-15801812DA8F}" dt="2020-12-07T23:14:19.986" v="116" actId="20577"/>
          <ac:spMkLst>
            <pc:docMk/>
            <pc:sldMk cId="3261659482" sldId="331"/>
            <ac:spMk id="8" creationId="{8877635F-823A-4ABD-B484-DE8588AA46A8}"/>
          </ac:spMkLst>
        </pc:spChg>
        <pc:picChg chg="mod">
          <ac:chgData name="rhashimoto@hks.harvard.edu" userId="S::urn:spo:guest#rhashimoto@hks.harvard.edu::" providerId="AD" clId="Web-{B61DBB64-A828-9721-467E-15801812DA8F}" dt="2020-12-07T23:16:57.115" v="119"/>
          <ac:picMkLst>
            <pc:docMk/>
            <pc:sldMk cId="3261659482" sldId="331"/>
            <ac:picMk id="9" creationId="{F86C5572-A6AC-4E1D-A22D-9DE28CC6EEC3}"/>
          </ac:picMkLst>
        </pc:picChg>
      </pc:sldChg>
      <pc:sldChg chg="modSp">
        <pc:chgData name="rhashimoto@hks.harvard.edu" userId="S::urn:spo:guest#rhashimoto@hks.harvard.edu::" providerId="AD" clId="Web-{B61DBB64-A828-9721-467E-15801812DA8F}" dt="2020-12-07T22:48:11.689" v="12" actId="20577"/>
        <pc:sldMkLst>
          <pc:docMk/>
          <pc:sldMk cId="774605815" sldId="336"/>
        </pc:sldMkLst>
        <pc:spChg chg="mod">
          <ac:chgData name="rhashimoto@hks.harvard.edu" userId="S::urn:spo:guest#rhashimoto@hks.harvard.edu::" providerId="AD" clId="Web-{B61DBB64-A828-9721-467E-15801812DA8F}" dt="2020-12-07T22:48:11.689" v="12" actId="20577"/>
          <ac:spMkLst>
            <pc:docMk/>
            <pc:sldMk cId="774605815" sldId="336"/>
            <ac:spMk id="8" creationId="{8877635F-823A-4ABD-B484-DE8588AA46A8}"/>
          </ac:spMkLst>
        </pc:spChg>
      </pc:sldChg>
    </pc:docChg>
  </pc:docChgLst>
  <pc:docChgLst>
    <pc:chgData name="luiscorrales@hks.harvard.edu" userId="S::urn:spo:guest#luiscorrales@hks.harvard.edu::" providerId="AD" clId="Web-{14607D64-99DE-4E3B-B0FD-334B5B8E60BB}"/>
    <pc:docChg chg="addSld delSld modSld">
      <pc:chgData name="luiscorrales@hks.harvard.edu" userId="S::urn:spo:guest#luiscorrales@hks.harvard.edu::" providerId="AD" clId="Web-{14607D64-99DE-4E3B-B0FD-334B5B8E60BB}" dt="2020-12-07T22:52:05.733" v="705" actId="20577"/>
      <pc:docMkLst>
        <pc:docMk/>
      </pc:docMkLst>
      <pc:sldChg chg="new del">
        <pc:chgData name="luiscorrales@hks.harvard.edu" userId="S::urn:spo:guest#luiscorrales@hks.harvard.edu::" providerId="AD" clId="Web-{14607D64-99DE-4E3B-B0FD-334B5B8E60BB}" dt="2020-12-07T22:19:28.083" v="9"/>
        <pc:sldMkLst>
          <pc:docMk/>
          <pc:sldMk cId="1748874093" sldId="337"/>
        </pc:sldMkLst>
      </pc:sldChg>
      <pc:sldChg chg="modSp add replId">
        <pc:chgData name="luiscorrales@hks.harvard.edu" userId="S::urn:spo:guest#luiscorrales@hks.harvard.edu::" providerId="AD" clId="Web-{14607D64-99DE-4E3B-B0FD-334B5B8E60BB}" dt="2020-12-07T22:18:52.754" v="4" actId="20577"/>
        <pc:sldMkLst>
          <pc:docMk/>
          <pc:sldMk cId="671342501" sldId="338"/>
        </pc:sldMkLst>
        <pc:spChg chg="mod">
          <ac:chgData name="luiscorrales@hks.harvard.edu" userId="S::urn:spo:guest#luiscorrales@hks.harvard.edu::" providerId="AD" clId="Web-{14607D64-99DE-4E3B-B0FD-334B5B8E60BB}" dt="2020-12-07T22:18:52.754" v="4" actId="20577"/>
          <ac:spMkLst>
            <pc:docMk/>
            <pc:sldMk cId="671342501" sldId="338"/>
            <ac:spMk id="9" creationId="{B0AAEFB1-18A8-4DE6-9E19-C835D37DC5AD}"/>
          </ac:spMkLst>
        </pc:spChg>
      </pc:sldChg>
      <pc:sldChg chg="addSp delSp modSp add del replId">
        <pc:chgData name="luiscorrales@hks.harvard.edu" userId="S::urn:spo:guest#luiscorrales@hks.harvard.edu::" providerId="AD" clId="Web-{14607D64-99DE-4E3B-B0FD-334B5B8E60BB}" dt="2020-12-07T22:44:14.223" v="586"/>
        <pc:sldMkLst>
          <pc:docMk/>
          <pc:sldMk cId="3244738081" sldId="339"/>
        </pc:sldMkLst>
        <pc:spChg chg="del mod">
          <ac:chgData name="luiscorrales@hks.harvard.edu" userId="S::urn:spo:guest#luiscorrales@hks.harvard.edu::" providerId="AD" clId="Web-{14607D64-99DE-4E3B-B0FD-334B5B8E60BB}" dt="2020-12-07T22:23:04.134" v="30"/>
          <ac:spMkLst>
            <pc:docMk/>
            <pc:sldMk cId="3244738081" sldId="339"/>
            <ac:spMk id="10" creationId="{E7FB5E50-C110-4645-8045-906AD0D3E313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3:33.229" v="43" actId="20577"/>
          <ac:spMkLst>
            <pc:docMk/>
            <pc:sldMk cId="3244738081" sldId="339"/>
            <ac:spMk id="12" creationId="{8AD67D0F-7DB4-4A26-AA7A-A35879D32653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30.482" v="105" actId="1076"/>
          <ac:spMkLst>
            <pc:docMk/>
            <pc:sldMk cId="3244738081" sldId="339"/>
            <ac:spMk id="13" creationId="{172D0CFD-A0D7-4794-9992-1049F57EC8C7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30.514" v="106" actId="1076"/>
          <ac:spMkLst>
            <pc:docMk/>
            <pc:sldMk cId="3244738081" sldId="339"/>
            <ac:spMk id="14" creationId="{02020630-2D99-4F28-B0EC-88767B5B1530}"/>
          </ac:spMkLst>
        </pc:spChg>
        <pc:spChg chg="mod">
          <ac:chgData name="luiscorrales@hks.harvard.edu" userId="S::urn:spo:guest#luiscorrales@hks.harvard.edu::" providerId="AD" clId="Web-{14607D64-99DE-4E3B-B0FD-334B5B8E60BB}" dt="2020-12-07T22:24:54.340" v="71" actId="20577"/>
          <ac:spMkLst>
            <pc:docMk/>
            <pc:sldMk cId="3244738081" sldId="339"/>
            <ac:spMk id="18" creationId="{637489A0-2E6F-4954-B9E7-43F7F30B60DF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24:05.432" v="46"/>
          <ac:spMkLst>
            <pc:docMk/>
            <pc:sldMk cId="3244738081" sldId="339"/>
            <ac:spMk id="40" creationId="{1471476D-57EA-4FAC-A540-8310A657EA39}"/>
          </ac:spMkLst>
        </pc:spChg>
        <pc:spChg chg="del">
          <ac:chgData name="luiscorrales@hks.harvard.edu" userId="S::urn:spo:guest#luiscorrales@hks.harvard.edu::" providerId="AD" clId="Web-{14607D64-99DE-4E3B-B0FD-334B5B8E60BB}" dt="2020-12-07T22:24:09.151" v="47"/>
          <ac:spMkLst>
            <pc:docMk/>
            <pc:sldMk cId="3244738081" sldId="339"/>
            <ac:spMk id="41" creationId="{2E3853B9-5149-4D8C-AE85-8D15BD79F2C2}"/>
          </ac:spMkLst>
        </pc:spChg>
        <pc:spChg chg="del">
          <ac:chgData name="luiscorrales@hks.harvard.edu" userId="S::urn:spo:guest#luiscorrales@hks.harvard.edu::" providerId="AD" clId="Web-{14607D64-99DE-4E3B-B0FD-334B5B8E60BB}" dt="2020-12-07T22:24:13.683" v="48"/>
          <ac:spMkLst>
            <pc:docMk/>
            <pc:sldMk cId="3244738081" sldId="339"/>
            <ac:spMk id="42" creationId="{952A29CC-E3F4-44A9-84DA-BAD4077583D4}"/>
          </ac:spMkLst>
        </pc:spChg>
        <pc:spChg chg="mod">
          <ac:chgData name="luiscorrales@hks.harvard.edu" userId="S::urn:spo:guest#luiscorrales@hks.harvard.edu::" providerId="AD" clId="Web-{14607D64-99DE-4E3B-B0FD-334B5B8E60BB}" dt="2020-12-07T22:25:28.184" v="94" actId="20577"/>
          <ac:spMkLst>
            <pc:docMk/>
            <pc:sldMk cId="3244738081" sldId="339"/>
            <ac:spMk id="43" creationId="{1323DFB1-7FB8-4025-92E2-FF5C602C7479}"/>
          </ac:spMkLst>
        </pc:spChg>
        <pc:spChg chg="del">
          <ac:chgData name="luiscorrales@hks.harvard.edu" userId="S::urn:spo:guest#luiscorrales@hks.harvard.edu::" providerId="AD" clId="Web-{14607D64-99DE-4E3B-B0FD-334B5B8E60BB}" dt="2020-12-07T22:26:16.466" v="103"/>
          <ac:spMkLst>
            <pc:docMk/>
            <pc:sldMk cId="3244738081" sldId="339"/>
            <ac:spMk id="46" creationId="{5EF5A04A-4329-4C5F-A8B1-B5DBE47C849F}"/>
          </ac:spMkLst>
        </pc:spChg>
        <pc:spChg chg="mod">
          <ac:chgData name="luiscorrales@hks.harvard.edu" userId="S::urn:spo:guest#luiscorrales@hks.harvard.edu::" providerId="AD" clId="Web-{14607D64-99DE-4E3B-B0FD-334B5B8E60BB}" dt="2020-12-07T22:25:36.622" v="96" actId="20577"/>
          <ac:spMkLst>
            <pc:docMk/>
            <pc:sldMk cId="3244738081" sldId="339"/>
            <ac:spMk id="91" creationId="{282FC822-A632-4FB7-B9A0-82BDB7E226C7}"/>
          </ac:spMkLst>
        </pc:spChg>
        <pc:spChg chg="add del">
          <ac:chgData name="luiscorrales@hks.harvard.edu" userId="S::urn:spo:guest#luiscorrales@hks.harvard.edu::" providerId="AD" clId="Web-{14607D64-99DE-4E3B-B0FD-334B5B8E60BB}" dt="2020-12-07T22:25:54.075" v="98"/>
          <ac:spMkLst>
            <pc:docMk/>
            <pc:sldMk cId="3244738081" sldId="339"/>
            <ac:spMk id="109" creationId="{D261421A-2C27-41A2-BDEA-55910BEDE3B6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50.686" v="120" actId="20577"/>
          <ac:spMkLst>
            <pc:docMk/>
            <pc:sldMk cId="3244738081" sldId="339"/>
            <ac:spMk id="112" creationId="{8DA07F97-6277-4767-B43A-F0512A5B3CA6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26:53.233" v="123" actId="20577"/>
          <ac:spMkLst>
            <pc:docMk/>
            <pc:sldMk cId="3244738081" sldId="339"/>
            <ac:spMk id="113" creationId="{B20C3A27-6D90-42A4-B29E-577F06D3CA28}"/>
          </ac:spMkLst>
        </pc:spChg>
        <pc:grpChg chg="mod">
          <ac:chgData name="luiscorrales@hks.harvard.edu" userId="S::urn:spo:guest#luiscorrales@hks.harvard.edu::" providerId="AD" clId="Web-{14607D64-99DE-4E3B-B0FD-334B5B8E60BB}" dt="2020-12-07T22:25:25.606" v="92" actId="14100"/>
          <ac:grpSpMkLst>
            <pc:docMk/>
            <pc:sldMk cId="3244738081" sldId="339"/>
            <ac:grpSpMk id="20" creationId="{0F920116-1AD9-4FF1-AABA-0B9E70921ADB}"/>
          </ac:grpSpMkLst>
        </pc:grpChg>
        <pc:grpChg chg="del">
          <ac:chgData name="luiscorrales@hks.harvard.edu" userId="S::urn:spo:guest#luiscorrales@hks.harvard.edu::" providerId="AD" clId="Web-{14607D64-99DE-4E3B-B0FD-334B5B8E60BB}" dt="2020-12-07T22:26:20.279" v="104"/>
          <ac:grpSpMkLst>
            <pc:docMk/>
            <pc:sldMk cId="3244738081" sldId="339"/>
            <ac:grpSpMk id="47" creationId="{1A0FE03B-EF53-47D7-8AE0-ACE3B6D6A76E}"/>
          </ac:grpSpMkLst>
        </pc:grpChg>
      </pc:sldChg>
      <pc:sldChg chg="addSp delSp modSp add replId">
        <pc:chgData name="luiscorrales@hks.harvard.edu" userId="S::urn:spo:guest#luiscorrales@hks.harvard.edu::" providerId="AD" clId="Web-{14607D64-99DE-4E3B-B0FD-334B5B8E60BB}" dt="2020-12-07T22:52:05.733" v="705" actId="20577"/>
        <pc:sldMkLst>
          <pc:docMk/>
          <pc:sldMk cId="772132796" sldId="340"/>
        </pc:sldMkLst>
        <pc:spChg chg="add del">
          <ac:chgData name="luiscorrales@hks.harvard.edu" userId="S::urn:spo:guest#luiscorrales@hks.harvard.edu::" providerId="AD" clId="Web-{14607D64-99DE-4E3B-B0FD-334B5B8E60BB}" dt="2020-12-07T22:28:09.906" v="133"/>
          <ac:spMkLst>
            <pc:docMk/>
            <pc:sldMk cId="772132796" sldId="340"/>
            <ac:spMk id="2" creationId="{7DA11855-581E-4E54-8778-BA882480CD50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07.439" v="135"/>
          <ac:spMkLst>
            <pc:docMk/>
            <pc:sldMk cId="772132796" sldId="340"/>
            <ac:spMk id="9" creationId="{55ACED7A-93A0-4C30-BF1F-10848979F3A6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54.672" v="131"/>
          <ac:spMkLst>
            <pc:docMk/>
            <pc:sldMk cId="772132796" sldId="340"/>
            <ac:spMk id="10" creationId="{E7FB5E50-C110-4645-8045-906AD0D3E313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27:51.640" v="128"/>
          <ac:spMkLst>
            <pc:docMk/>
            <pc:sldMk cId="772132796" sldId="340"/>
            <ac:spMk id="14" creationId="{0BE95F09-D182-425A-95E1-34169A5C487C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40:11.327" v="503" actId="1076"/>
          <ac:spMkLst>
            <pc:docMk/>
            <pc:sldMk cId="772132796" sldId="340"/>
            <ac:spMk id="16" creationId="{2DEEBE71-5EA3-4B92-8D03-A424C9500881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26.173" v="137"/>
          <ac:spMkLst>
            <pc:docMk/>
            <pc:sldMk cId="772132796" sldId="340"/>
            <ac:spMk id="18" creationId="{04923706-2FC3-4008-BDAA-D5B3934421C1}"/>
          </ac:spMkLst>
        </pc:spChg>
        <pc:spChg chg="mod">
          <ac:chgData name="luiscorrales@hks.harvard.edu" userId="S::urn:spo:guest#luiscorrales@hks.harvard.edu::" providerId="AD" clId="Web-{14607D64-99DE-4E3B-B0FD-334B5B8E60BB}" dt="2020-12-07T22:31:49.458" v="231" actId="20577"/>
          <ac:spMkLst>
            <pc:docMk/>
            <pc:sldMk cId="772132796" sldId="340"/>
            <ac:spMk id="19" creationId="{35A304CE-3E8B-4A07-931E-7549EF25AFE2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26.205" v="138"/>
          <ac:spMkLst>
            <pc:docMk/>
            <pc:sldMk cId="772132796" sldId="340"/>
            <ac:spMk id="20" creationId="{761A3F0D-8E8D-4D85-8BE2-91B793CA88DC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39.455" v="139"/>
          <ac:spMkLst>
            <pc:docMk/>
            <pc:sldMk cId="772132796" sldId="340"/>
            <ac:spMk id="21" creationId="{C9D74743-415F-4BFC-8290-AC3F37A11AD6}"/>
          </ac:spMkLst>
        </pc:spChg>
        <pc:spChg chg="add">
          <ac:chgData name="luiscorrales@hks.harvard.edu" userId="S::urn:spo:guest#luiscorrales@hks.harvard.edu::" providerId="AD" clId="Web-{14607D64-99DE-4E3B-B0FD-334B5B8E60BB}" dt="2020-12-07T22:29:39.486" v="140"/>
          <ac:spMkLst>
            <pc:docMk/>
            <pc:sldMk cId="772132796" sldId="340"/>
            <ac:spMk id="23" creationId="{5106A669-DF52-46ED-A9F4-3579EA42DA68}"/>
          </ac:spMkLst>
        </pc:spChg>
        <pc:spChg chg="mod">
          <ac:chgData name="luiscorrales@hks.harvard.edu" userId="S::urn:spo:guest#luiscorrales@hks.harvard.edu::" providerId="AD" clId="Web-{14607D64-99DE-4E3B-B0FD-334B5B8E60BB}" dt="2020-12-07T22:50:50.825" v="690" actId="1076"/>
          <ac:spMkLst>
            <pc:docMk/>
            <pc:sldMk cId="772132796" sldId="340"/>
            <ac:spMk id="25" creationId="{EF6831AC-42DB-4DCD-B859-3737CCF869EA}"/>
          </ac:spMkLst>
        </pc:spChg>
        <pc:spChg chg="mod">
          <ac:chgData name="luiscorrales@hks.harvard.edu" userId="S::urn:spo:guest#luiscorrales@hks.harvard.edu::" providerId="AD" clId="Web-{14607D64-99DE-4E3B-B0FD-334B5B8E60BB}" dt="2020-12-07T22:40:14.390" v="505" actId="20577"/>
          <ac:spMkLst>
            <pc:docMk/>
            <pc:sldMk cId="772132796" sldId="340"/>
            <ac:spMk id="26" creationId="{DC85C318-37F9-47BC-8CDE-3F33192C7071}"/>
          </ac:spMkLst>
        </pc:spChg>
        <pc:spChg chg="mod">
          <ac:chgData name="luiscorrales@hks.harvard.edu" userId="S::urn:spo:guest#luiscorrales@hks.harvard.edu::" providerId="AD" clId="Web-{14607D64-99DE-4E3B-B0FD-334B5B8E60BB}" dt="2020-12-07T22:34:17.961" v="359" actId="1076"/>
          <ac:spMkLst>
            <pc:docMk/>
            <pc:sldMk cId="772132796" sldId="340"/>
            <ac:spMk id="44" creationId="{24C009A9-940D-4226-96E3-F00415B1A58D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52.562" v="129"/>
          <ac:spMkLst>
            <pc:docMk/>
            <pc:sldMk cId="772132796" sldId="340"/>
            <ac:spMk id="46" creationId="{5EF5A04A-4329-4C5F-A8B1-B5DBE47C849F}"/>
          </ac:spMkLst>
        </pc:spChg>
        <pc:spChg chg="mod">
          <ac:chgData name="luiscorrales@hks.harvard.edu" userId="S::urn:spo:guest#luiscorrales@hks.harvard.edu::" providerId="AD" clId="Web-{14607D64-99DE-4E3B-B0FD-334B5B8E60BB}" dt="2020-12-07T22:34:25.445" v="361" actId="14100"/>
          <ac:spMkLst>
            <pc:docMk/>
            <pc:sldMk cId="772132796" sldId="340"/>
            <ac:spMk id="56" creationId="{300BE465-19DF-4E6A-AE00-B648FDFC4F8E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36:14.651" v="427"/>
          <ac:spMkLst>
            <pc:docMk/>
            <pc:sldMk cId="772132796" sldId="340"/>
            <ac:spMk id="59" creationId="{9259D7E4-1AD4-4581-A087-C4ED7A9B1708}"/>
          </ac:spMkLst>
        </pc:spChg>
        <pc:spChg chg="del">
          <ac:chgData name="luiscorrales@hks.harvard.edu" userId="S::urn:spo:guest#luiscorrales@hks.harvard.edu::" providerId="AD" clId="Web-{14607D64-99DE-4E3B-B0FD-334B5B8E60BB}" dt="2020-12-07T22:36:17.401" v="428"/>
          <ac:spMkLst>
            <pc:docMk/>
            <pc:sldMk cId="772132796" sldId="340"/>
            <ac:spMk id="62" creationId="{32A4CE61-7143-4B28-A387-83097975B942}"/>
          </ac:spMkLst>
        </pc:spChg>
        <pc:spChg chg="mod">
          <ac:chgData name="luiscorrales@hks.harvard.edu" userId="S::urn:spo:guest#luiscorrales@hks.harvard.edu::" providerId="AD" clId="Web-{14607D64-99DE-4E3B-B0FD-334B5B8E60BB}" dt="2020-12-07T22:38:51.841" v="478" actId="1076"/>
          <ac:spMkLst>
            <pc:docMk/>
            <pc:sldMk cId="772132796" sldId="340"/>
            <ac:spMk id="63" creationId="{3B87171A-2363-4AB8-9D32-85F1EEC1BE62}"/>
          </ac:spMkLst>
        </pc:spChg>
        <pc:spChg chg="mod topLvl">
          <ac:chgData name="luiscorrales@hks.harvard.edu" userId="S::urn:spo:guest#luiscorrales@hks.harvard.edu::" providerId="AD" clId="Web-{14607D64-99DE-4E3B-B0FD-334B5B8E60BB}" dt="2020-12-07T22:29:56.955" v="143"/>
          <ac:spMkLst>
            <pc:docMk/>
            <pc:sldMk cId="772132796" sldId="340"/>
            <ac:spMk id="80" creationId="{F78139B7-7239-4798-9E30-B9A1C08AC8C2}"/>
          </ac:spMkLst>
        </pc:spChg>
        <pc:spChg chg="del topLvl">
          <ac:chgData name="luiscorrales@hks.harvard.edu" userId="S::urn:spo:guest#luiscorrales@hks.harvard.edu::" providerId="AD" clId="Web-{14607D64-99DE-4E3B-B0FD-334B5B8E60BB}" dt="2020-12-07T22:29:56.955" v="143"/>
          <ac:spMkLst>
            <pc:docMk/>
            <pc:sldMk cId="772132796" sldId="340"/>
            <ac:spMk id="81" creationId="{59F23F9B-268E-4BFF-AFA2-F3C3DA6E03ED}"/>
          </ac:spMkLst>
        </pc:spChg>
        <pc:spChg chg="mod">
          <ac:chgData name="luiscorrales@hks.harvard.edu" userId="S::urn:spo:guest#luiscorrales@hks.harvard.edu::" providerId="AD" clId="Web-{14607D64-99DE-4E3B-B0FD-334B5B8E60BB}" dt="2020-12-07T22:38:48.810" v="477" actId="20577"/>
          <ac:spMkLst>
            <pc:docMk/>
            <pc:sldMk cId="772132796" sldId="340"/>
            <ac:spMk id="82" creationId="{A87BA4E3-E235-4001-AF64-A21E6FD8B366}"/>
          </ac:spMkLst>
        </pc:spChg>
        <pc:spChg chg="add del mod">
          <ac:chgData name="luiscorrales@hks.harvard.edu" userId="S::urn:spo:guest#luiscorrales@hks.harvard.edu::" providerId="AD" clId="Web-{14607D64-99DE-4E3B-B0FD-334B5B8E60BB}" dt="2020-12-07T22:35:11.055" v="389"/>
          <ac:spMkLst>
            <pc:docMk/>
            <pc:sldMk cId="772132796" sldId="340"/>
            <ac:spMk id="94" creationId="{4DD6C7F6-5FF1-4A88-A138-BF59E8A3FFE3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42.167" v="438" actId="1076"/>
          <ac:spMkLst>
            <pc:docMk/>
            <pc:sldMk cId="772132796" sldId="340"/>
            <ac:spMk id="95" creationId="{3A234D28-F460-49F7-80BE-0CFD8A478F13}"/>
          </ac:spMkLst>
        </pc:spChg>
        <pc:spChg chg="del mod topLvl">
          <ac:chgData name="luiscorrales@hks.harvard.edu" userId="S::urn:spo:guest#luiscorrales@hks.harvard.edu::" providerId="AD" clId="Web-{14607D64-99DE-4E3B-B0FD-334B5B8E60BB}" dt="2020-12-07T22:34:05.710" v="356"/>
          <ac:spMkLst>
            <pc:docMk/>
            <pc:sldMk cId="772132796" sldId="340"/>
            <ac:spMk id="97" creationId="{1D8E2CBB-4147-4C36-862D-077CE0D51F46}"/>
          </ac:spMkLst>
        </pc:spChg>
        <pc:spChg chg="mod topLvl">
          <ac:chgData name="luiscorrales@hks.harvard.edu" userId="S::urn:spo:guest#luiscorrales@hks.harvard.edu::" providerId="AD" clId="Web-{14607D64-99DE-4E3B-B0FD-334B5B8E60BB}" dt="2020-12-07T22:34:46.774" v="384" actId="20577"/>
          <ac:spMkLst>
            <pc:docMk/>
            <pc:sldMk cId="772132796" sldId="340"/>
            <ac:spMk id="98" creationId="{448B4E81-7592-4A38-B99F-B8F004AE6DE1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42.104" v="436" actId="1076"/>
          <ac:spMkLst>
            <pc:docMk/>
            <pc:sldMk cId="772132796" sldId="340"/>
            <ac:spMk id="99" creationId="{D66A789D-1B4C-44AE-BEE5-6DB0ABD47B65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42.135" v="437" actId="1076"/>
          <ac:spMkLst>
            <pc:docMk/>
            <pc:sldMk cId="772132796" sldId="340"/>
            <ac:spMk id="100" creationId="{4703F9F3-9033-46CC-8837-A2D612B01590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6:32.760" v="432" actId="1076"/>
          <ac:spMkLst>
            <pc:docMk/>
            <pc:sldMk cId="772132796" sldId="340"/>
            <ac:spMk id="101" creationId="{A3340DA8-B383-43B0-9378-E81F763ABF2B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52:05.733" v="705" actId="20577"/>
          <ac:spMkLst>
            <pc:docMk/>
            <pc:sldMk cId="772132796" sldId="340"/>
            <ac:spMk id="102" creationId="{39D1900C-45C5-4EE8-926A-BA5BFC12432B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38:24.263" v="463" actId="1076"/>
          <ac:spMkLst>
            <pc:docMk/>
            <pc:sldMk cId="772132796" sldId="340"/>
            <ac:spMk id="103" creationId="{D4EEEF92-B900-450A-80C0-E983510C5DDD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41:54.454" v="534" actId="20577"/>
          <ac:spMkLst>
            <pc:docMk/>
            <pc:sldMk cId="772132796" sldId="340"/>
            <ac:spMk id="104" creationId="{AE5F02C6-DC68-4BDE-ACD4-FB8592F6E5AA}"/>
          </ac:spMkLst>
        </pc:spChg>
        <pc:spChg chg="add mod">
          <ac:chgData name="luiscorrales@hks.harvard.edu" userId="S::urn:spo:guest#luiscorrales@hks.harvard.edu::" providerId="AD" clId="Web-{14607D64-99DE-4E3B-B0FD-334B5B8E60BB}" dt="2020-12-07T22:50:50.887" v="693" actId="1076"/>
          <ac:spMkLst>
            <pc:docMk/>
            <pc:sldMk cId="772132796" sldId="340"/>
            <ac:spMk id="105" creationId="{E2B6FE30-09C0-4E7A-AD67-0E1D2CD3A9B5}"/>
          </ac:spMkLst>
        </pc:spChg>
        <pc:spChg chg="mod">
          <ac:chgData name="luiscorrales@hks.harvard.edu" userId="S::urn:spo:guest#luiscorrales@hks.harvard.edu::" providerId="AD" clId="Web-{14607D64-99DE-4E3B-B0FD-334B5B8E60BB}" dt="2020-12-07T22:39:40.749" v="494" actId="14100"/>
          <ac:spMkLst>
            <pc:docMk/>
            <pc:sldMk cId="772132796" sldId="340"/>
            <ac:spMk id="121" creationId="{C6103FAC-FB25-4813-92D9-92812518F61B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45.890" v="125"/>
          <ac:spMkLst>
            <pc:docMk/>
            <pc:sldMk cId="772132796" sldId="340"/>
            <ac:spMk id="139" creationId="{1A9ACCC7-A9F5-4CD0-BDB3-071DA8E55BA7}"/>
          </ac:spMkLst>
        </pc:spChg>
        <pc:spChg chg="del">
          <ac:chgData name="luiscorrales@hks.harvard.edu" userId="S::urn:spo:guest#luiscorrales@hks.harvard.edu::" providerId="AD" clId="Web-{14607D64-99DE-4E3B-B0FD-334B5B8E60BB}" dt="2020-12-07T22:27:53.468" v="130"/>
          <ac:spMkLst>
            <pc:docMk/>
            <pc:sldMk cId="772132796" sldId="340"/>
            <ac:spMk id="143" creationId="{85D872FA-1629-4AE7-A24A-2B78FFC216BE}"/>
          </ac:spMkLst>
        </pc:spChg>
        <pc:spChg chg="mod">
          <ac:chgData name="luiscorrales@hks.harvard.edu" userId="S::urn:spo:guest#luiscorrales@hks.harvard.edu::" providerId="AD" clId="Web-{14607D64-99DE-4E3B-B0FD-334B5B8E60BB}" dt="2020-12-07T22:32:59.365" v="317" actId="14100"/>
          <ac:spMkLst>
            <pc:docMk/>
            <pc:sldMk cId="772132796" sldId="340"/>
            <ac:spMk id="147" creationId="{57DE242A-D634-4995-98A5-999B35774B19}"/>
          </ac:spMkLst>
        </pc:spChg>
        <pc:spChg chg="mod">
          <ac:chgData name="luiscorrales@hks.harvard.edu" userId="S::urn:spo:guest#luiscorrales@hks.harvard.edu::" providerId="AD" clId="Web-{14607D64-99DE-4E3B-B0FD-334B5B8E60BB}" dt="2020-12-07T22:30:48.956" v="151" actId="20577"/>
          <ac:spMkLst>
            <pc:docMk/>
            <pc:sldMk cId="772132796" sldId="340"/>
            <ac:spMk id="149" creationId="{7D7FBDB5-CBAB-4022-897E-790F5D1DF1E4}"/>
          </ac:spMkLst>
        </pc:spChg>
        <pc:spChg chg="mod">
          <ac:chgData name="luiscorrales@hks.harvard.edu" userId="S::urn:spo:guest#luiscorrales@hks.harvard.edu::" providerId="AD" clId="Web-{14607D64-99DE-4E3B-B0FD-334B5B8E60BB}" dt="2020-12-07T22:41:42.689" v="530" actId="20577"/>
          <ac:spMkLst>
            <pc:docMk/>
            <pc:sldMk cId="772132796" sldId="340"/>
            <ac:spMk id="156" creationId="{7CFDC072-2D75-4871-A864-9A2E5D9DD62D}"/>
          </ac:spMkLst>
        </pc:spChg>
        <pc:spChg chg="mod">
          <ac:chgData name="luiscorrales@hks.harvard.edu" userId="S::urn:spo:guest#luiscorrales@hks.harvard.edu::" providerId="AD" clId="Web-{14607D64-99DE-4E3B-B0FD-334B5B8E60BB}" dt="2020-12-07T22:42:17.877" v="544" actId="20577"/>
          <ac:spMkLst>
            <pc:docMk/>
            <pc:sldMk cId="772132796" sldId="340"/>
            <ac:spMk id="157" creationId="{527E4725-5505-468D-B3C7-148B730DC9A2}"/>
          </ac:spMkLst>
        </pc:spChg>
        <pc:spChg chg="mod">
          <ac:chgData name="luiscorrales@hks.harvard.edu" userId="S::urn:spo:guest#luiscorrales@hks.harvard.edu::" providerId="AD" clId="Web-{14607D64-99DE-4E3B-B0FD-334B5B8E60BB}" dt="2020-12-07T22:41:59.626" v="541" actId="20577"/>
          <ac:spMkLst>
            <pc:docMk/>
            <pc:sldMk cId="772132796" sldId="340"/>
            <ac:spMk id="158" creationId="{5B895ECD-3A10-481B-B212-3374F686518A}"/>
          </ac:spMkLst>
        </pc:spChg>
        <pc:spChg chg="mod">
          <ac:chgData name="luiscorrales@hks.harvard.edu" userId="S::urn:spo:guest#luiscorrales@hks.harvard.edu::" providerId="AD" clId="Web-{14607D64-99DE-4E3B-B0FD-334B5B8E60BB}" dt="2020-12-07T22:50:59.934" v="698" actId="20577"/>
          <ac:spMkLst>
            <pc:docMk/>
            <pc:sldMk cId="772132796" sldId="340"/>
            <ac:spMk id="159" creationId="{24CBC3D8-4814-4254-B8F9-0BD9DDA9C2BD}"/>
          </ac:spMkLst>
        </pc:spChg>
        <pc:spChg chg="del mod">
          <ac:chgData name="luiscorrales@hks.harvard.edu" userId="S::urn:spo:guest#luiscorrales@hks.harvard.edu::" providerId="AD" clId="Web-{14607D64-99DE-4E3B-B0FD-334B5B8E60BB}" dt="2020-12-07T22:40:18.671" v="506"/>
          <ac:spMkLst>
            <pc:docMk/>
            <pc:sldMk cId="772132796" sldId="340"/>
            <ac:spMk id="160" creationId="{BD6843CA-0F6B-4152-B5CB-98C2429D2D36}"/>
          </ac:spMkLst>
        </pc:spChg>
        <pc:spChg chg="mod">
          <ac:chgData name="luiscorrales@hks.harvard.edu" userId="S::urn:spo:guest#luiscorrales@hks.harvard.edu::" providerId="AD" clId="Web-{14607D64-99DE-4E3B-B0FD-334B5B8E60BB}" dt="2020-12-07T22:50:50.856" v="691" actId="1076"/>
          <ac:spMkLst>
            <pc:docMk/>
            <pc:sldMk cId="772132796" sldId="340"/>
            <ac:spMk id="162" creationId="{3FF417EC-DE95-4AF0-99DD-63802B35B232}"/>
          </ac:spMkLst>
        </pc:spChg>
        <pc:spChg chg="mod">
          <ac:chgData name="luiscorrales@hks.harvard.edu" userId="S::urn:spo:guest#luiscorrales@hks.harvard.edu::" providerId="AD" clId="Web-{14607D64-99DE-4E3B-B0FD-334B5B8E60BB}" dt="2020-12-07T22:51:04.809" v="701" actId="20577"/>
          <ac:spMkLst>
            <pc:docMk/>
            <pc:sldMk cId="772132796" sldId="340"/>
            <ac:spMk id="163" creationId="{1B4BEB1D-3600-4F98-9368-B2F731593DC2}"/>
          </ac:spMkLst>
        </pc:spChg>
        <pc:spChg chg="del">
          <ac:chgData name="luiscorrales@hks.harvard.edu" userId="S::urn:spo:guest#luiscorrales@hks.harvard.edu::" providerId="AD" clId="Web-{14607D64-99DE-4E3B-B0FD-334B5B8E60BB}" dt="2020-12-07T22:40:22.187" v="509"/>
          <ac:spMkLst>
            <pc:docMk/>
            <pc:sldMk cId="772132796" sldId="340"/>
            <ac:spMk id="164" creationId="{42301B5C-A6BF-4127-B974-450155542337}"/>
          </ac:spMkLst>
        </pc:spChg>
        <pc:spChg chg="del">
          <ac:chgData name="luiscorrales@hks.harvard.edu" userId="S::urn:spo:guest#luiscorrales@hks.harvard.edu::" providerId="AD" clId="Web-{14607D64-99DE-4E3B-B0FD-334B5B8E60BB}" dt="2020-12-07T22:39:37.327" v="493"/>
          <ac:spMkLst>
            <pc:docMk/>
            <pc:sldMk cId="772132796" sldId="340"/>
            <ac:spMk id="166" creationId="{436B5FC7-0C2A-4E9B-BD9A-F858767207F6}"/>
          </ac:spMkLst>
        </pc:spChg>
        <pc:spChg chg="mod">
          <ac:chgData name="luiscorrales@hks.harvard.edu" userId="S::urn:spo:guest#luiscorrales@hks.harvard.edu::" providerId="AD" clId="Web-{14607D64-99DE-4E3B-B0FD-334B5B8E60BB}" dt="2020-12-07T22:41:13.719" v="524" actId="1076"/>
          <ac:spMkLst>
            <pc:docMk/>
            <pc:sldMk cId="772132796" sldId="340"/>
            <ac:spMk id="167" creationId="{2BE81E32-875E-4B7E-9091-46D7E846BCE7}"/>
          </ac:spMkLst>
        </pc:spChg>
        <pc:spChg chg="del">
          <ac:chgData name="luiscorrales@hks.harvard.edu" userId="S::urn:spo:guest#luiscorrales@hks.harvard.edu::" providerId="AD" clId="Web-{14607D64-99DE-4E3B-B0FD-334B5B8E60BB}" dt="2020-12-07T22:40:21.156" v="508"/>
          <ac:spMkLst>
            <pc:docMk/>
            <pc:sldMk cId="772132796" sldId="340"/>
            <ac:spMk id="168" creationId="{79D0B87C-20AA-44FE-B692-1733994AACAA}"/>
          </ac:spMkLst>
        </pc:spChg>
        <pc:spChg chg="del">
          <ac:chgData name="luiscorrales@hks.harvard.edu" userId="S::urn:spo:guest#luiscorrales@hks.harvard.edu::" providerId="AD" clId="Web-{14607D64-99DE-4E3B-B0FD-334B5B8E60BB}" dt="2020-12-07T22:40:19.765" v="507"/>
          <ac:spMkLst>
            <pc:docMk/>
            <pc:sldMk cId="772132796" sldId="340"/>
            <ac:spMk id="169" creationId="{EE1CA35D-7869-4392-9225-B045953BA53A}"/>
          </ac:spMkLst>
        </pc:spChg>
        <pc:grpChg chg="add del">
          <ac:chgData name="luiscorrales@hks.harvard.edu" userId="S::urn:spo:guest#luiscorrales@hks.harvard.edu::" providerId="AD" clId="Web-{14607D64-99DE-4E3B-B0FD-334B5B8E60BB}" dt="2020-12-07T22:29:56.955" v="143"/>
          <ac:grpSpMkLst>
            <pc:docMk/>
            <pc:sldMk cId="772132796" sldId="340"/>
            <ac:grpSpMk id="3" creationId="{B6AD4F07-DF1C-4A4D-B955-1F7724DC6299}"/>
          </ac:grpSpMkLst>
        </pc:grpChg>
        <pc:grpChg chg="del">
          <ac:chgData name="luiscorrales@hks.harvard.edu" userId="S::urn:spo:guest#luiscorrales@hks.harvard.edu::" providerId="AD" clId="Web-{14607D64-99DE-4E3B-B0FD-334B5B8E60BB}" dt="2020-12-07T22:27:48.828" v="126"/>
          <ac:grpSpMkLst>
            <pc:docMk/>
            <pc:sldMk cId="772132796" sldId="340"/>
            <ac:grpSpMk id="13" creationId="{589D78AF-6209-457E-B427-0192033A62E9}"/>
          </ac:grpSpMkLst>
        </pc:grpChg>
        <pc:grpChg chg="del mod">
          <ac:chgData name="luiscorrales@hks.harvard.edu" userId="S::urn:spo:guest#luiscorrales@hks.harvard.edu::" providerId="AD" clId="Web-{14607D64-99DE-4E3B-B0FD-334B5B8E60BB}" dt="2020-12-07T22:36:05.275" v="422"/>
          <ac:grpSpMkLst>
            <pc:docMk/>
            <pc:sldMk cId="772132796" sldId="340"/>
            <ac:grpSpMk id="75" creationId="{4B7674F1-4D18-4805-85CB-137D16F3C504}"/>
          </ac:grpSpMkLst>
        </pc:grpChg>
        <pc:grpChg chg="del">
          <ac:chgData name="luiscorrales@hks.harvard.edu" userId="S::urn:spo:guest#luiscorrales@hks.harvard.edu::" providerId="AD" clId="Web-{14607D64-99DE-4E3B-B0FD-334B5B8E60BB}" dt="2020-12-07T22:34:05.710" v="356"/>
          <ac:grpSpMkLst>
            <pc:docMk/>
            <pc:sldMk cId="772132796" sldId="340"/>
            <ac:grpSpMk id="96" creationId="{B1282B5E-2425-41BD-999D-EF1F5F65EB8D}"/>
          </ac:grpSpMkLst>
        </pc:grpChg>
      </pc:sldChg>
      <pc:sldChg chg="addSp delSp modSp new">
        <pc:chgData name="luiscorrales@hks.harvard.edu" userId="S::urn:spo:guest#luiscorrales@hks.harvard.edu::" providerId="AD" clId="Web-{14607D64-99DE-4E3B-B0FD-334B5B8E60BB}" dt="2020-12-07T22:48:25.197" v="674" actId="1076"/>
        <pc:sldMkLst>
          <pc:docMk/>
          <pc:sldMk cId="3412125449" sldId="341"/>
        </pc:sldMkLst>
        <pc:spChg chg="mod">
          <ac:chgData name="luiscorrales@hks.harvard.edu" userId="S::urn:spo:guest#luiscorrales@hks.harvard.edu::" providerId="AD" clId="Web-{14607D64-99DE-4E3B-B0FD-334B5B8E60BB}" dt="2020-12-07T22:48:19.931" v="671" actId="20577"/>
          <ac:spMkLst>
            <pc:docMk/>
            <pc:sldMk cId="3412125449" sldId="341"/>
            <ac:spMk id="2" creationId="{4A6BA1B4-6D0B-42C6-9938-E58AA4AC38CD}"/>
          </ac:spMkLst>
        </pc:spChg>
        <pc:spChg chg="del">
          <ac:chgData name="luiscorrales@hks.harvard.edu" userId="S::urn:spo:guest#luiscorrales@hks.harvard.edu::" providerId="AD" clId="Web-{14607D64-99DE-4E3B-B0FD-334B5B8E60BB}" dt="2020-12-07T22:47:16.930" v="588"/>
          <ac:spMkLst>
            <pc:docMk/>
            <pc:sldMk cId="3412125449" sldId="341"/>
            <ac:spMk id="3" creationId="{0AFE6333-C969-450E-9D6B-A0529335A5C0}"/>
          </ac:spMkLst>
        </pc:spChg>
        <pc:picChg chg="add mod ord">
          <ac:chgData name="luiscorrales@hks.harvard.edu" userId="S::urn:spo:guest#luiscorrales@hks.harvard.edu::" providerId="AD" clId="Web-{14607D64-99DE-4E3B-B0FD-334B5B8E60BB}" dt="2020-12-07T22:48:25.197" v="674" actId="1076"/>
          <ac:picMkLst>
            <pc:docMk/>
            <pc:sldMk cId="3412125449" sldId="341"/>
            <ac:picMk id="4" creationId="{EE792576-FC84-4DE3-9916-38AB8C93E207}"/>
          </ac:picMkLst>
        </pc:picChg>
      </pc:sldChg>
      <pc:sldChg chg="addSp delSp modSp new del">
        <pc:chgData name="luiscorrales@hks.harvard.edu" userId="S::urn:spo:guest#luiscorrales@hks.harvard.edu::" providerId="AD" clId="Web-{14607D64-99DE-4E3B-B0FD-334B5B8E60BB}" dt="2020-12-07T22:51:09.106" v="704"/>
        <pc:sldMkLst>
          <pc:docMk/>
          <pc:sldMk cId="2601747268" sldId="342"/>
        </pc:sldMkLst>
        <pc:spChg chg="del">
          <ac:chgData name="luiscorrales@hks.harvard.edu" userId="S::urn:spo:guest#luiscorrales@hks.harvard.edu::" providerId="AD" clId="Web-{14607D64-99DE-4E3B-B0FD-334B5B8E60BB}" dt="2020-12-07T22:49:00.026" v="676"/>
          <ac:spMkLst>
            <pc:docMk/>
            <pc:sldMk cId="2601747268" sldId="342"/>
            <ac:spMk id="3" creationId="{C95D80EF-892A-491E-8046-37AE027D23F3}"/>
          </ac:spMkLst>
        </pc:spChg>
        <pc:picChg chg="add mod ord">
          <ac:chgData name="luiscorrales@hks.harvard.edu" userId="S::urn:spo:guest#luiscorrales@hks.harvard.edu::" providerId="AD" clId="Web-{14607D64-99DE-4E3B-B0FD-334B5B8E60BB}" dt="2020-12-07T22:49:09.713" v="679" actId="1076"/>
          <ac:picMkLst>
            <pc:docMk/>
            <pc:sldMk cId="2601747268" sldId="342"/>
            <ac:picMk id="4" creationId="{613CA4A5-B94B-4B33-B15C-EFA2BC080C5B}"/>
          </ac:picMkLst>
        </pc:picChg>
      </pc:sldChg>
    </pc:docChg>
  </pc:docChgLst>
  <pc:docChgLst>
    <pc:chgData name="luiscorrales@hks.harvard.edu" userId="S::urn:spo:guest#luiscorrales@hks.harvard.edu::" providerId="AD" clId="Web-{2665A804-F188-A268-2A2A-D9501937EF87}"/>
    <pc:docChg chg="addSld delSld modSld">
      <pc:chgData name="luiscorrales@hks.harvard.edu" userId="S::urn:spo:guest#luiscorrales@hks.harvard.edu::" providerId="AD" clId="Web-{2665A804-F188-A268-2A2A-D9501937EF87}" dt="2020-12-10T00:35:59.335" v="932"/>
      <pc:docMkLst>
        <pc:docMk/>
      </pc:docMkLst>
      <pc:sldChg chg="addSp delSp modSp">
        <pc:chgData name="luiscorrales@hks.harvard.edu" userId="S::urn:spo:guest#luiscorrales@hks.harvard.edu::" providerId="AD" clId="Web-{2665A804-F188-A268-2A2A-D9501937EF87}" dt="2020-12-10T00:16:33.735" v="847" actId="20577"/>
        <pc:sldMkLst>
          <pc:docMk/>
          <pc:sldMk cId="772132796" sldId="340"/>
        </pc:sldMkLst>
        <pc:spChg chg="mod ord">
          <ac:chgData name="luiscorrales@hks.harvard.edu" userId="S::urn:spo:guest#luiscorrales@hks.harvard.edu::" providerId="AD" clId="Web-{2665A804-F188-A268-2A2A-D9501937EF87}" dt="2020-12-10T00:00:43.451" v="346"/>
          <ac:spMkLst>
            <pc:docMk/>
            <pc:sldMk cId="772132796" sldId="340"/>
            <ac:spMk id="25" creationId="{EF6831AC-42DB-4DCD-B859-3737CCF869EA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52.654" v="350"/>
          <ac:spMkLst>
            <pc:docMk/>
            <pc:sldMk cId="772132796" sldId="340"/>
            <ac:spMk id="26" creationId="{DC85C318-37F9-47BC-8CDE-3F33192C7071}"/>
          </ac:spMkLst>
        </pc:spChg>
        <pc:spChg chg="mod">
          <ac:chgData name="luiscorrales@hks.harvard.edu" userId="S::urn:spo:guest#luiscorrales@hks.harvard.edu::" providerId="AD" clId="Web-{2665A804-F188-A268-2A2A-D9501937EF87}" dt="2020-12-10T00:06:25.364" v="439" actId="1076"/>
          <ac:spMkLst>
            <pc:docMk/>
            <pc:sldMk cId="772132796" sldId="340"/>
            <ac:spMk id="60" creationId="{3BD99CDE-6CE6-451E-9589-5060FA553EF8}"/>
          </ac:spMkLst>
        </pc:spChg>
        <pc:spChg chg="mod">
          <ac:chgData name="luiscorrales@hks.harvard.edu" userId="S::urn:spo:guest#luiscorrales@hks.harvard.edu::" providerId="AD" clId="Web-{2665A804-F188-A268-2A2A-D9501937EF87}" dt="2020-12-10T00:06:31.098" v="441" actId="1076"/>
          <ac:spMkLst>
            <pc:docMk/>
            <pc:sldMk cId="772132796" sldId="340"/>
            <ac:spMk id="63" creationId="{3B87171A-2363-4AB8-9D32-85F1EEC1BE62}"/>
          </ac:spMkLst>
        </pc:spChg>
        <pc:spChg chg="add del mod">
          <ac:chgData name="luiscorrales@hks.harvard.edu" userId="S::urn:spo:guest#luiscorrales@hks.harvard.edu::" providerId="AD" clId="Web-{2665A804-F188-A268-2A2A-D9501937EF87}" dt="2020-12-09T23:56:39.493" v="243"/>
          <ac:spMkLst>
            <pc:docMk/>
            <pc:sldMk cId="772132796" sldId="340"/>
            <ac:spMk id="67" creationId="{ADE54A3A-42EA-425B-85EF-036B364A7E2B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18.606" v="735" actId="20577"/>
          <ac:spMkLst>
            <pc:docMk/>
            <pc:sldMk cId="772132796" sldId="340"/>
            <ac:spMk id="68" creationId="{60539670-634C-4ADD-B67E-A42D59584D7F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8:33.710" v="473" actId="20577"/>
          <ac:spMkLst>
            <pc:docMk/>
            <pc:sldMk cId="772132796" sldId="340"/>
            <ac:spMk id="69" creationId="{EA747E35-5ED0-48D9-A892-04AA71A0A83B}"/>
          </ac:spMkLst>
        </pc:spChg>
        <pc:spChg chg="add del">
          <ac:chgData name="luiscorrales@hks.harvard.edu" userId="S::urn:spo:guest#luiscorrales@hks.harvard.edu::" providerId="AD" clId="Web-{2665A804-F188-A268-2A2A-D9501937EF87}" dt="2020-12-09T23:34:15.139" v="75"/>
          <ac:spMkLst>
            <pc:docMk/>
            <pc:sldMk cId="772132796" sldId="340"/>
            <ac:spMk id="70" creationId="{DEC9213D-0A3C-4E1A-A14E-577CC1A9F788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2:28.316" v="165" actId="1076"/>
          <ac:spMkLst>
            <pc:docMk/>
            <pc:sldMk cId="772132796" sldId="340"/>
            <ac:spMk id="71" creationId="{BC4E027A-22D4-4490-A69E-C18922AB0323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3:46.099" v="187" actId="1076"/>
          <ac:spMkLst>
            <pc:docMk/>
            <pc:sldMk cId="772132796" sldId="340"/>
            <ac:spMk id="72" creationId="{716F41D5-FBA4-4ED5-B0F4-AE70D21CF12E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8:50.398" v="485" actId="20577"/>
          <ac:spMkLst>
            <pc:docMk/>
            <pc:sldMk cId="772132796" sldId="340"/>
            <ac:spMk id="74" creationId="{4541892F-DA5D-4E42-B8C5-7305D6CDCA3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6:16.422" v="844"/>
          <ac:spMkLst>
            <pc:docMk/>
            <pc:sldMk cId="772132796" sldId="340"/>
            <ac:spMk id="75" creationId="{D2F53DE9-4AAA-4C26-898B-6B8FA1C40951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28.180" v="519" actId="20577"/>
          <ac:spMkLst>
            <pc:docMk/>
            <pc:sldMk cId="772132796" sldId="340"/>
            <ac:spMk id="76" creationId="{3629C4CB-335B-44F9-B0D3-704B335A3753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50.102" v="542" actId="20577"/>
          <ac:spMkLst>
            <pc:docMk/>
            <pc:sldMk cId="772132796" sldId="340"/>
            <ac:spMk id="77" creationId="{C9D45AB7-5568-4B36-8E11-CE5CB28F8CA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8:40.069" v="478" actId="20577"/>
          <ac:spMkLst>
            <pc:docMk/>
            <pc:sldMk cId="772132796" sldId="340"/>
            <ac:spMk id="78" creationId="{4A9C2018-7AC7-4135-BDDD-9EC40F081189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03.257" v="502" actId="20577"/>
          <ac:spMkLst>
            <pc:docMk/>
            <pc:sldMk cId="772132796" sldId="340"/>
            <ac:spMk id="79" creationId="{DFF2386B-C237-4343-8C54-E101831E13DB}"/>
          </ac:spMkLst>
        </pc:spChg>
        <pc:spChg chg="add del mod">
          <ac:chgData name="luiscorrales@hks.harvard.edu" userId="S::urn:spo:guest#luiscorrales@hks.harvard.edu::" providerId="AD" clId="Web-{2665A804-F188-A268-2A2A-D9501937EF87}" dt="2020-12-09T23:54:42.288" v="196"/>
          <ac:spMkLst>
            <pc:docMk/>
            <pc:sldMk cId="772132796" sldId="340"/>
            <ac:spMk id="81" creationId="{1FE345B3-6DC2-4A31-B372-C145E8B8A3F3}"/>
          </ac:spMkLst>
        </pc:spChg>
        <pc:spChg chg="mod">
          <ac:chgData name="luiscorrales@hks.harvard.edu" userId="S::urn:spo:guest#luiscorrales@hks.harvard.edu::" providerId="AD" clId="Web-{2665A804-F188-A268-2A2A-D9501937EF87}" dt="2020-12-10T00:06:29.583" v="440" actId="1076"/>
          <ac:spMkLst>
            <pc:docMk/>
            <pc:sldMk cId="772132796" sldId="340"/>
            <ac:spMk id="82" creationId="{A87BA4E3-E235-4001-AF64-A21E6FD8B366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5:43.539" v="220"/>
          <ac:spMkLst>
            <pc:docMk/>
            <pc:sldMk cId="772132796" sldId="340"/>
            <ac:spMk id="83" creationId="{7DF94FFA-3B72-4EB7-9BA8-DDDF96C30E7B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6:19.290" v="236" actId="1076"/>
          <ac:spMkLst>
            <pc:docMk/>
            <pc:sldMk cId="772132796" sldId="340"/>
            <ac:spMk id="84" creationId="{FF3DF9FB-B8A5-4BCB-A0A0-99B7B3EA8993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6:36.868" v="242" actId="20577"/>
          <ac:spMkLst>
            <pc:docMk/>
            <pc:sldMk cId="772132796" sldId="340"/>
            <ac:spMk id="85" creationId="{18C899C0-362C-4B6D-87A3-72F44452234C}"/>
          </ac:spMkLst>
        </pc:spChg>
        <pc:spChg chg="add mod">
          <ac:chgData name="luiscorrales@hks.harvard.edu" userId="S::urn:spo:guest#luiscorrales@hks.harvard.edu::" providerId="AD" clId="Web-{2665A804-F188-A268-2A2A-D9501937EF87}" dt="2020-12-09T23:56:56.884" v="256" actId="20577"/>
          <ac:spMkLst>
            <pc:docMk/>
            <pc:sldMk cId="772132796" sldId="340"/>
            <ac:spMk id="86" creationId="{E631F576-157F-4191-AE50-B5E523137CE8}"/>
          </ac:spMkLst>
        </pc:spChg>
        <pc:spChg chg="del mod">
          <ac:chgData name="luiscorrales@hks.harvard.edu" userId="S::urn:spo:guest#luiscorrales@hks.harvard.edu::" providerId="AD" clId="Web-{2665A804-F188-A268-2A2A-D9501937EF87}" dt="2020-12-10T00:07:51.334" v="469"/>
          <ac:spMkLst>
            <pc:docMk/>
            <pc:sldMk cId="772132796" sldId="340"/>
            <ac:spMk id="87" creationId="{FD6B039C-D7CC-4D97-B95F-1361242B5170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6:12.078" v="842"/>
          <ac:spMkLst>
            <pc:docMk/>
            <pc:sldMk cId="772132796" sldId="340"/>
            <ac:spMk id="88" creationId="{7C950B8F-E1AA-4B8A-B0DB-BF5C13D63AD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9:32.977" v="528" actId="20577"/>
          <ac:spMkLst>
            <pc:docMk/>
            <pc:sldMk cId="772132796" sldId="340"/>
            <ac:spMk id="89" creationId="{6067B8A7-CC97-44D4-918F-E719FCBCD7B4}"/>
          </ac:spMkLst>
        </pc:spChg>
        <pc:spChg chg="mod">
          <ac:chgData name="luiscorrales@hks.harvard.edu" userId="S::urn:spo:guest#luiscorrales@hks.harvard.edu::" providerId="AD" clId="Web-{2665A804-F188-A268-2A2A-D9501937EF87}" dt="2020-12-09T23:50:51.893" v="129" actId="1076"/>
          <ac:spMkLst>
            <pc:docMk/>
            <pc:sldMk cId="772132796" sldId="340"/>
            <ac:spMk id="90" creationId="{DAC0203C-7B4D-4B9C-A042-B91F9D4D5DC3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0:04.712" v="555" actId="20577"/>
          <ac:spMkLst>
            <pc:docMk/>
            <pc:sldMk cId="772132796" sldId="340"/>
            <ac:spMk id="91" creationId="{39C6C29C-0D5D-4EFD-BC81-08D304897932}"/>
          </ac:spMkLst>
        </pc:spChg>
        <pc:spChg chg="add mod ord">
          <ac:chgData name="luiscorrales@hks.harvard.edu" userId="S::urn:spo:guest#luiscorrales@hks.harvard.edu::" providerId="AD" clId="Web-{2665A804-F188-A268-2A2A-D9501937EF87}" dt="2020-12-10T00:04:03.205" v="406" actId="1076"/>
          <ac:spMkLst>
            <pc:docMk/>
            <pc:sldMk cId="772132796" sldId="340"/>
            <ac:spMk id="92" creationId="{BA198BE7-78E7-4724-8CD4-0782BDB5FF2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249" v="364" actId="1076"/>
          <ac:spMkLst>
            <pc:docMk/>
            <pc:sldMk cId="772132796" sldId="340"/>
            <ac:spMk id="94" creationId="{B114EC15-F235-4CBB-9BC4-F2416ABCED99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265" v="365" actId="1076"/>
          <ac:spMkLst>
            <pc:docMk/>
            <pc:sldMk cId="772132796" sldId="340"/>
            <ac:spMk id="96" creationId="{6573A8D0-4216-4182-B6AF-934845041BB6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296" v="366" actId="1076"/>
          <ac:spMkLst>
            <pc:docMk/>
            <pc:sldMk cId="772132796" sldId="340"/>
            <ac:spMk id="97" creationId="{938DB4BD-D930-47D4-B1D1-38CEA7E82D27}"/>
          </ac:spMkLst>
        </pc:spChg>
        <pc:spChg chg="mod">
          <ac:chgData name="luiscorrales@hks.harvard.edu" userId="S::urn:spo:guest#luiscorrales@hks.harvard.edu::" providerId="AD" clId="Web-{2665A804-F188-A268-2A2A-D9501937EF87}" dt="2020-12-10T00:16:33.735" v="847" actId="20577"/>
          <ac:spMkLst>
            <pc:docMk/>
            <pc:sldMk cId="772132796" sldId="340"/>
            <ac:spMk id="102" creationId="{39D1900C-45C5-4EE8-926A-BA5BFC12432B}"/>
          </ac:spMkLst>
        </pc:spChg>
        <pc:spChg chg="del mod">
          <ac:chgData name="luiscorrales@hks.harvard.edu" userId="S::urn:spo:guest#luiscorrales@hks.harvard.edu::" providerId="AD" clId="Web-{2665A804-F188-A268-2A2A-D9501937EF87}" dt="2020-12-09T23:56:58.181" v="257"/>
          <ac:spMkLst>
            <pc:docMk/>
            <pc:sldMk cId="772132796" sldId="340"/>
            <ac:spMk id="104" creationId="{AE5F02C6-DC68-4BDE-ACD4-FB8592F6E5AA}"/>
          </ac:spMkLst>
        </pc:spChg>
        <pc:spChg chg="mod">
          <ac:chgData name="luiscorrales@hks.harvard.edu" userId="S::urn:spo:guest#luiscorrales@hks.harvard.edu::" providerId="AD" clId="Web-{2665A804-F188-A268-2A2A-D9501937EF87}" dt="2020-12-09T23:57:08.619" v="260" actId="1076"/>
          <ac:spMkLst>
            <pc:docMk/>
            <pc:sldMk cId="772132796" sldId="340"/>
            <ac:spMk id="105" creationId="{E2B6FE30-09C0-4E7A-AD67-0E1D2CD3A9B5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327" v="367" actId="1076"/>
          <ac:spMkLst>
            <pc:docMk/>
            <pc:sldMk cId="772132796" sldId="340"/>
            <ac:spMk id="107" creationId="{52514A80-C4F9-4D4E-B75C-F5E46C63830A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1:51.343" v="368" actId="1076"/>
          <ac:spMkLst>
            <pc:docMk/>
            <pc:sldMk cId="772132796" sldId="340"/>
            <ac:spMk id="108" creationId="{08DCA91B-CECF-45AF-BD1D-9345A69593C4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29.091" v="754" actId="20577"/>
          <ac:spMkLst>
            <pc:docMk/>
            <pc:sldMk cId="772132796" sldId="340"/>
            <ac:spMk id="109" creationId="{288E6D23-36A3-4525-854E-F37C01706037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35.731" v="765" actId="20577"/>
          <ac:spMkLst>
            <pc:docMk/>
            <pc:sldMk cId="772132796" sldId="340"/>
            <ac:spMk id="110" creationId="{4EDB582C-4A34-4B35-AB1F-BB84D5D86C30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42.294" v="776" actId="20577"/>
          <ac:spMkLst>
            <pc:docMk/>
            <pc:sldMk cId="772132796" sldId="340"/>
            <ac:spMk id="111" creationId="{182D9F8C-9F90-41F1-AB4A-3EEAB033BBC8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3:55.732" v="789" actId="20577"/>
          <ac:spMkLst>
            <pc:docMk/>
            <pc:sldMk cId="772132796" sldId="340"/>
            <ac:spMk id="112" creationId="{691B4F41-676A-4CFB-A6EA-75896B008856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4:03.810" v="797" actId="20577"/>
          <ac:spMkLst>
            <pc:docMk/>
            <pc:sldMk cId="772132796" sldId="340"/>
            <ac:spMk id="113" creationId="{C3131445-6EE2-47D2-B064-DA7A91B018A0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05.197" v="576" actId="20577"/>
          <ac:spMkLst>
            <pc:docMk/>
            <pc:sldMk cId="772132796" sldId="340"/>
            <ac:spMk id="115" creationId="{BBB8BEC0-7987-420B-BEFF-978A6DF6B9C5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21.463" v="598" actId="20577"/>
          <ac:spMkLst>
            <pc:docMk/>
            <pc:sldMk cId="772132796" sldId="340"/>
            <ac:spMk id="117" creationId="{D72CDB77-5BC7-4E26-8969-F9B059B395A3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5:59.890" v="839" actId="1076"/>
          <ac:spMkLst>
            <pc:docMk/>
            <pc:sldMk cId="772132796" sldId="340"/>
            <ac:spMk id="120" creationId="{EE551ED5-C159-4985-AD70-88B75B0C2F2D}"/>
          </ac:spMkLst>
        </pc:spChg>
        <pc:spChg chg="mod">
          <ac:chgData name="luiscorrales@hks.harvard.edu" userId="S::urn:spo:guest#luiscorrales@hks.harvard.edu::" providerId="AD" clId="Web-{2665A804-F188-A268-2A2A-D9501937EF87}" dt="2020-12-09T23:58:41.386" v="272" actId="14100"/>
          <ac:spMkLst>
            <pc:docMk/>
            <pc:sldMk cId="772132796" sldId="340"/>
            <ac:spMk id="121" creationId="{C6103FAC-FB25-4813-92D9-92812518F61B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6:02.953" v="840" actId="1076"/>
          <ac:spMkLst>
            <pc:docMk/>
            <pc:sldMk cId="772132796" sldId="340"/>
            <ac:spMk id="122" creationId="{60D93F8C-429D-40F7-A678-68A1C302BACF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2:35.558" v="712" actId="20577"/>
          <ac:spMkLst>
            <pc:docMk/>
            <pc:sldMk cId="772132796" sldId="340"/>
            <ac:spMk id="123" creationId="{A1FDFDFD-8910-4E52-AB9D-BF96660212D9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11.119" v="589" actId="20577"/>
          <ac:spMkLst>
            <pc:docMk/>
            <pc:sldMk cId="772132796" sldId="340"/>
            <ac:spMk id="124" creationId="{7F7F0B16-3F4A-4AB5-9AA7-82DF8B53D88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29.151" v="609" actId="20577"/>
          <ac:spMkLst>
            <pc:docMk/>
            <pc:sldMk cId="772132796" sldId="340"/>
            <ac:spMk id="125" creationId="{AD7CF785-ABBA-4FD2-999A-95264E1AAB7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1:58.058" v="653" actId="20577"/>
          <ac:spMkLst>
            <pc:docMk/>
            <pc:sldMk cId="772132796" sldId="340"/>
            <ac:spMk id="126" creationId="{1401795D-E955-4145-95C7-02A6EB4181B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2:22.011" v="696" actId="20577"/>
          <ac:spMkLst>
            <pc:docMk/>
            <pc:sldMk cId="772132796" sldId="340"/>
            <ac:spMk id="127" creationId="{970FAC50-85A2-49CC-BB12-DD8CF45773E6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12:43.434" v="725" actId="20577"/>
          <ac:spMkLst>
            <pc:docMk/>
            <pc:sldMk cId="772132796" sldId="340"/>
            <ac:spMk id="128" creationId="{6E097AEB-F3B0-42CB-B908-217217802C04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5:20.737" v="419" actId="1076"/>
          <ac:spMkLst>
            <pc:docMk/>
            <pc:sldMk cId="772132796" sldId="340"/>
            <ac:spMk id="131" creationId="{B59112F7-06DD-49A3-9FA8-A2B463C56F1C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5:33.535" v="421" actId="1076"/>
          <ac:spMkLst>
            <pc:docMk/>
            <pc:sldMk cId="772132796" sldId="340"/>
            <ac:spMk id="132" creationId="{3C03B115-7D7F-4FE8-88D7-F71AD8C63D7B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5:45.035" v="423" actId="1076"/>
          <ac:spMkLst>
            <pc:docMk/>
            <pc:sldMk cId="772132796" sldId="340"/>
            <ac:spMk id="133" creationId="{D6C27F4C-4A82-4306-AAB9-3BE0DFF9A6D2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6:02.582" v="434" actId="20577"/>
          <ac:spMkLst>
            <pc:docMk/>
            <pc:sldMk cId="772132796" sldId="340"/>
            <ac:spMk id="134" creationId="{7C57AD95-27BA-467B-BCCF-5B3F07F29E7D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6:43.255" v="445" actId="1076"/>
          <ac:spMkLst>
            <pc:docMk/>
            <pc:sldMk cId="772132796" sldId="340"/>
            <ac:spMk id="135" creationId="{F52962BE-A5D2-43D3-8DE0-A3E3A60DA49A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6:51.880" v="461" actId="1076"/>
          <ac:spMkLst>
            <pc:docMk/>
            <pc:sldMk cId="772132796" sldId="340"/>
            <ac:spMk id="136" creationId="{CD848B4F-EABC-4C4C-88F2-0C554AAC19D2}"/>
          </ac:spMkLst>
        </pc:spChg>
        <pc:spChg chg="add mod">
          <ac:chgData name="luiscorrales@hks.harvard.edu" userId="S::urn:spo:guest#luiscorrales@hks.harvard.edu::" providerId="AD" clId="Web-{2665A804-F188-A268-2A2A-D9501937EF87}" dt="2020-12-10T00:07:36.506" v="467"/>
          <ac:spMkLst>
            <pc:docMk/>
            <pc:sldMk cId="772132796" sldId="340"/>
            <ac:spMk id="137" creationId="{402721B4-10BB-4477-9DFB-67EA3262C8AE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38.482" v="344"/>
          <ac:spMkLst>
            <pc:docMk/>
            <pc:sldMk cId="772132796" sldId="340"/>
            <ac:spMk id="156" creationId="{7CFDC072-2D75-4871-A864-9A2E5D9DD62D}"/>
          </ac:spMkLst>
        </pc:spChg>
        <pc:spChg chg="del mod">
          <ac:chgData name="luiscorrales@hks.harvard.edu" userId="S::urn:spo:guest#luiscorrales@hks.harvard.edu::" providerId="AD" clId="Web-{2665A804-F188-A268-2A2A-D9501937EF87}" dt="2020-12-09T23:55:20.335" v="201"/>
          <ac:spMkLst>
            <pc:docMk/>
            <pc:sldMk cId="772132796" sldId="340"/>
            <ac:spMk id="157" creationId="{527E4725-5505-468D-B3C7-148B730DC9A2}"/>
          </ac:spMkLst>
        </pc:spChg>
        <pc:spChg chg="del mod">
          <ac:chgData name="luiscorrales@hks.harvard.edu" userId="S::urn:spo:guest#luiscorrales@hks.harvard.edu::" providerId="AD" clId="Web-{2665A804-F188-A268-2A2A-D9501937EF87}" dt="2020-12-09T23:55:58.695" v="223"/>
          <ac:spMkLst>
            <pc:docMk/>
            <pc:sldMk cId="772132796" sldId="340"/>
            <ac:spMk id="158" creationId="{5B895ECD-3A10-481B-B212-3374F686518A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41.420" v="345"/>
          <ac:spMkLst>
            <pc:docMk/>
            <pc:sldMk cId="772132796" sldId="340"/>
            <ac:spMk id="159" creationId="{24CBC3D8-4814-4254-B8F9-0BD9DDA9C2BD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45.498" v="347"/>
          <ac:spMkLst>
            <pc:docMk/>
            <pc:sldMk cId="772132796" sldId="340"/>
            <ac:spMk id="162" creationId="{3FF417EC-DE95-4AF0-99DD-63802B35B232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47.873" v="348"/>
          <ac:spMkLst>
            <pc:docMk/>
            <pc:sldMk cId="772132796" sldId="340"/>
            <ac:spMk id="163" creationId="{1B4BEB1D-3600-4F98-9368-B2F731593DC2}"/>
          </ac:spMkLst>
        </pc:spChg>
        <pc:spChg chg="mod ord">
          <ac:chgData name="luiscorrales@hks.harvard.edu" userId="S::urn:spo:guest#luiscorrales@hks.harvard.edu::" providerId="AD" clId="Web-{2665A804-F188-A268-2A2A-D9501937EF87}" dt="2020-12-10T00:00:50.248" v="349"/>
          <ac:spMkLst>
            <pc:docMk/>
            <pc:sldMk cId="772132796" sldId="340"/>
            <ac:spMk id="167" creationId="{2BE81E32-875E-4B7E-9091-46D7E846BCE7}"/>
          </ac:spMkLst>
        </pc:spChg>
        <pc:picChg chg="add del mod">
          <ac:chgData name="luiscorrales@hks.harvard.edu" userId="S::urn:spo:guest#luiscorrales@hks.harvard.edu::" providerId="AD" clId="Web-{2665A804-F188-A268-2A2A-D9501937EF87}" dt="2020-12-10T00:10:09.196" v="558"/>
          <ac:picMkLst>
            <pc:docMk/>
            <pc:sldMk cId="772132796" sldId="340"/>
            <ac:picMk id="10" creationId="{7F0BB025-7A47-428C-8C8E-406CD9DFEB56}"/>
          </ac:picMkLst>
        </pc:picChg>
        <pc:picChg chg="add del mod">
          <ac:chgData name="luiscorrales@hks.harvard.edu" userId="S::urn:spo:guest#luiscorrales@hks.harvard.edu::" providerId="AD" clId="Web-{2665A804-F188-A268-2A2A-D9501937EF87}" dt="2020-12-10T00:14:04.091" v="799"/>
          <ac:picMkLst>
            <pc:docMk/>
            <pc:sldMk cId="772132796" sldId="340"/>
            <ac:picMk id="11" creationId="{F16A9FFF-A590-46A5-BCD9-554D2CF4088B}"/>
          </ac:picMkLst>
        </pc:picChg>
        <pc:picChg chg="add del mod">
          <ac:chgData name="luiscorrales@hks.harvard.edu" userId="S::urn:spo:guest#luiscorrales@hks.harvard.edu::" providerId="AD" clId="Web-{2665A804-F188-A268-2A2A-D9501937EF87}" dt="2020-12-10T00:12:56.699" v="728"/>
          <ac:picMkLst>
            <pc:docMk/>
            <pc:sldMk cId="772132796" sldId="340"/>
            <ac:picMk id="12" creationId="{85E1C9CD-C3C6-413D-A452-260FA78A5937}"/>
          </ac:picMkLst>
        </pc:picChg>
        <pc:cxnChg chg="add mod">
          <ac:chgData name="luiscorrales@hks.harvard.edu" userId="S::urn:spo:guest#luiscorrales@hks.harvard.edu::" providerId="AD" clId="Web-{2665A804-F188-A268-2A2A-D9501937EF87}" dt="2020-12-09T23:58:21.729" v="271" actId="1076"/>
          <ac:cxnSpMkLst>
            <pc:docMk/>
            <pc:sldMk cId="772132796" sldId="340"/>
            <ac:cxnSpMk id="2" creationId="{A048A113-73FD-4879-B278-BFA69163701D}"/>
          </ac:cxnSpMkLst>
        </pc:cxnChg>
        <pc:cxnChg chg="add del mod">
          <ac:chgData name="luiscorrales@hks.harvard.edu" userId="S::urn:spo:guest#luiscorrales@hks.harvard.edu::" providerId="AD" clId="Web-{2665A804-F188-A268-2A2A-D9501937EF87}" dt="2020-12-10T00:04:28.096" v="412"/>
          <ac:cxnSpMkLst>
            <pc:docMk/>
            <pc:sldMk cId="772132796" sldId="340"/>
            <ac:cxnSpMk id="3" creationId="{54FDF19F-CA02-4EB3-8513-A8D8D4609F04}"/>
          </ac:cxnSpMkLst>
        </pc:cxnChg>
        <pc:cxnChg chg="add mod">
          <ac:chgData name="luiscorrales@hks.harvard.edu" userId="S::urn:spo:guest#luiscorrales@hks.harvard.edu::" providerId="AD" clId="Web-{2665A804-F188-A268-2A2A-D9501937EF87}" dt="2020-12-09T23:57:40.807" v="267" actId="14100"/>
          <ac:cxnSpMkLst>
            <pc:docMk/>
            <pc:sldMk cId="772132796" sldId="340"/>
            <ac:cxnSpMk id="73" creationId="{CA1D479F-6F56-4406-AD6F-EFA5D55A6A12}"/>
          </ac:cxnSpMkLst>
        </pc:cxnChg>
        <pc:cxnChg chg="add mod">
          <ac:chgData name="luiscorrales@hks.harvard.edu" userId="S::urn:spo:guest#luiscorrales@hks.harvard.edu::" providerId="AD" clId="Web-{2665A804-F188-A268-2A2A-D9501937EF87}" dt="2020-12-10T00:04:20.439" v="410" actId="1076"/>
          <ac:cxnSpMkLst>
            <pc:docMk/>
            <pc:sldMk cId="772132796" sldId="340"/>
            <ac:cxnSpMk id="129" creationId="{2FFC23D8-A6C3-48EE-913B-CD1CCEFE8121}"/>
          </ac:cxnSpMkLst>
        </pc:cxnChg>
        <pc:cxnChg chg="add mod">
          <ac:chgData name="luiscorrales@hks.harvard.edu" userId="S::urn:spo:guest#luiscorrales@hks.harvard.edu::" providerId="AD" clId="Web-{2665A804-F188-A268-2A2A-D9501937EF87}" dt="2020-12-10T00:04:50.362" v="417" actId="14100"/>
          <ac:cxnSpMkLst>
            <pc:docMk/>
            <pc:sldMk cId="772132796" sldId="340"/>
            <ac:cxnSpMk id="130" creationId="{36E03C1F-8950-4852-82B9-FEDB38C465F5}"/>
          </ac:cxnSpMkLst>
        </pc:cxnChg>
      </pc:sldChg>
      <pc:sldChg chg="modSp del">
        <pc:chgData name="luiscorrales@hks.harvard.edu" userId="S::urn:spo:guest#luiscorrales@hks.harvard.edu::" providerId="AD" clId="Web-{2665A804-F188-A268-2A2A-D9501937EF87}" dt="2020-12-10T00:35:59.335" v="932"/>
        <pc:sldMkLst>
          <pc:docMk/>
          <pc:sldMk cId="3412125449" sldId="341"/>
        </pc:sldMkLst>
        <pc:spChg chg="mod">
          <ac:chgData name="luiscorrales@hks.harvard.edu" userId="S::urn:spo:guest#luiscorrales@hks.harvard.edu::" providerId="AD" clId="Web-{2665A804-F188-A268-2A2A-D9501937EF87}" dt="2020-12-10T00:18:59.191" v="890" actId="20577"/>
          <ac:spMkLst>
            <pc:docMk/>
            <pc:sldMk cId="3412125449" sldId="341"/>
            <ac:spMk id="2" creationId="{4A6BA1B4-6D0B-42C6-9938-E58AA4AC38CD}"/>
          </ac:spMkLst>
        </pc:spChg>
      </pc:sldChg>
      <pc:sldChg chg="addSp delSp modSp new">
        <pc:chgData name="luiscorrales@hks.harvard.edu" userId="S::urn:spo:guest#luiscorrales@hks.harvard.edu::" providerId="AD" clId="Web-{2665A804-F188-A268-2A2A-D9501937EF87}" dt="2020-12-10T00:18:24.659" v="862" actId="1076"/>
        <pc:sldMkLst>
          <pc:docMk/>
          <pc:sldMk cId="3556359552" sldId="346"/>
        </pc:sldMkLst>
        <pc:spChg chg="mod">
          <ac:chgData name="luiscorrales@hks.harvard.edu" userId="S::urn:spo:guest#luiscorrales@hks.harvard.edu::" providerId="AD" clId="Web-{2665A804-F188-A268-2A2A-D9501937EF87}" dt="2020-12-10T00:15:31.624" v="833" actId="20577"/>
          <ac:spMkLst>
            <pc:docMk/>
            <pc:sldMk cId="3556359552" sldId="346"/>
            <ac:spMk id="2" creationId="{DE53A0EF-3198-4376-BE04-DDD365114418}"/>
          </ac:spMkLst>
        </pc:spChg>
        <pc:spChg chg="del">
          <ac:chgData name="luiscorrales@hks.harvard.edu" userId="S::urn:spo:guest#luiscorrales@hks.harvard.edu::" providerId="AD" clId="Web-{2665A804-F188-A268-2A2A-D9501937EF87}" dt="2020-12-10T00:16:50.485" v="848"/>
          <ac:spMkLst>
            <pc:docMk/>
            <pc:sldMk cId="3556359552" sldId="346"/>
            <ac:spMk id="3" creationId="{66756BB4-9BD1-4723-AC04-DD00E0374D5B}"/>
          </ac:spMkLst>
        </pc:spChg>
        <pc:picChg chg="add mod ord">
          <ac:chgData name="luiscorrales@hks.harvard.edu" userId="S::urn:spo:guest#luiscorrales@hks.harvard.edu::" providerId="AD" clId="Web-{2665A804-F188-A268-2A2A-D9501937EF87}" dt="2020-12-10T00:17:00.485" v="851" actId="1076"/>
          <ac:picMkLst>
            <pc:docMk/>
            <pc:sldMk cId="3556359552" sldId="346"/>
            <ac:picMk id="4" creationId="{A1E54A81-E162-48EE-89E8-BA4FE42D43F4}"/>
          </ac:picMkLst>
        </pc:picChg>
        <pc:picChg chg="add del mod">
          <ac:chgData name="luiscorrales@hks.harvard.edu" userId="S::urn:spo:guest#luiscorrales@hks.harvard.edu::" providerId="AD" clId="Web-{2665A804-F188-A268-2A2A-D9501937EF87}" dt="2020-12-10T00:17:50.643" v="857"/>
          <ac:picMkLst>
            <pc:docMk/>
            <pc:sldMk cId="3556359552" sldId="346"/>
            <ac:picMk id="5" creationId="{87D0CDB8-BE76-4C25-B496-5A5FAEE1D38F}"/>
          </ac:picMkLst>
        </pc:picChg>
        <pc:picChg chg="add mod">
          <ac:chgData name="luiscorrales@hks.harvard.edu" userId="S::urn:spo:guest#luiscorrales@hks.harvard.edu::" providerId="AD" clId="Web-{2665A804-F188-A268-2A2A-D9501937EF87}" dt="2020-12-10T00:18:24.659" v="862" actId="1076"/>
          <ac:picMkLst>
            <pc:docMk/>
            <pc:sldMk cId="3556359552" sldId="346"/>
            <ac:picMk id="6" creationId="{DE0F8DD8-F7CF-4C33-A271-64058B54CD9C}"/>
          </ac:picMkLst>
        </pc:picChg>
      </pc:sldChg>
      <pc:sldChg chg="addSp delSp modSp new">
        <pc:chgData name="luiscorrales@hks.harvard.edu" userId="S::urn:spo:guest#luiscorrales@hks.harvard.edu::" providerId="AD" clId="Web-{2665A804-F188-A268-2A2A-D9501937EF87}" dt="2020-12-10T00:20:37.849" v="931" actId="14100"/>
        <pc:sldMkLst>
          <pc:docMk/>
          <pc:sldMk cId="2101673297" sldId="347"/>
        </pc:sldMkLst>
        <pc:spChg chg="mod">
          <ac:chgData name="luiscorrales@hks.harvard.edu" userId="S::urn:spo:guest#luiscorrales@hks.harvard.edu::" providerId="AD" clId="Web-{2665A804-F188-A268-2A2A-D9501937EF87}" dt="2020-12-10T00:19:58.958" v="922" actId="20577"/>
          <ac:spMkLst>
            <pc:docMk/>
            <pc:sldMk cId="2101673297" sldId="347"/>
            <ac:spMk id="2" creationId="{6207CCC7-106C-4DC0-B280-7353B72CC31D}"/>
          </ac:spMkLst>
        </pc:spChg>
        <pc:spChg chg="del">
          <ac:chgData name="luiscorrales@hks.harvard.edu" userId="S::urn:spo:guest#luiscorrales@hks.harvard.edu::" providerId="AD" clId="Web-{2665A804-F188-A268-2A2A-D9501937EF87}" dt="2020-12-10T00:19:43.129" v="912"/>
          <ac:spMkLst>
            <pc:docMk/>
            <pc:sldMk cId="2101673297" sldId="347"/>
            <ac:spMk id="3" creationId="{FF984719-460B-4023-B98A-601668025441}"/>
          </ac:spMkLst>
        </pc:spChg>
        <pc:picChg chg="add mod ord">
          <ac:chgData name="luiscorrales@hks.harvard.edu" userId="S::urn:spo:guest#luiscorrales@hks.harvard.edu::" providerId="AD" clId="Web-{2665A804-F188-A268-2A2A-D9501937EF87}" dt="2020-12-10T00:20:04.145" v="926" actId="1076"/>
          <ac:picMkLst>
            <pc:docMk/>
            <pc:sldMk cId="2101673297" sldId="347"/>
            <ac:picMk id="4" creationId="{61DA0F49-1896-4598-B244-3671DB6C5FAF}"/>
          </ac:picMkLst>
        </pc:picChg>
        <pc:picChg chg="add mod">
          <ac:chgData name="luiscorrales@hks.harvard.edu" userId="S::urn:spo:guest#luiscorrales@hks.harvard.edu::" providerId="AD" clId="Web-{2665A804-F188-A268-2A2A-D9501937EF87}" dt="2020-12-10T00:20:37.849" v="931" actId="14100"/>
          <ac:picMkLst>
            <pc:docMk/>
            <pc:sldMk cId="2101673297" sldId="347"/>
            <ac:picMk id="5" creationId="{9B9F1863-7802-4963-94DF-FFB7F943879C}"/>
          </ac:picMkLst>
        </pc:picChg>
      </pc:sldChg>
    </pc:docChg>
  </pc:docChgLst>
  <pc:docChgLst>
    <pc:chgData name="rhashimoto@hks.harvard.edu" userId="S::urn:spo:guest#rhashimoto@hks.harvard.edu::" providerId="AD" clId="Web-{9E799673-672C-5BAD-787B-26C1D3F8839B}"/>
    <pc:docChg chg="addSld delSld modSld">
      <pc:chgData name="rhashimoto@hks.harvard.edu" userId="S::urn:spo:guest#rhashimoto@hks.harvard.edu::" providerId="AD" clId="Web-{9E799673-672C-5BAD-787B-26C1D3F8839B}" dt="2020-12-07T14:02:52.642" v="5"/>
      <pc:docMkLst>
        <pc:docMk/>
      </pc:docMkLst>
      <pc:sldChg chg="modSp">
        <pc:chgData name="rhashimoto@hks.harvard.edu" userId="S::urn:spo:guest#rhashimoto@hks.harvard.edu::" providerId="AD" clId="Web-{9E799673-672C-5BAD-787B-26C1D3F8839B}" dt="2020-12-07T14:02:07.641" v="0"/>
        <pc:sldMkLst>
          <pc:docMk/>
          <pc:sldMk cId="2974865944" sldId="326"/>
        </pc:sldMkLst>
        <pc:picChg chg="mod">
          <ac:chgData name="rhashimoto@hks.harvard.edu" userId="S::urn:spo:guest#rhashimoto@hks.harvard.edu::" providerId="AD" clId="Web-{9E799673-672C-5BAD-787B-26C1D3F8839B}" dt="2020-12-07T14:02:07.641" v="0"/>
          <ac:picMkLst>
            <pc:docMk/>
            <pc:sldMk cId="2974865944" sldId="326"/>
            <ac:picMk id="14" creationId="{F297AAD5-5386-4CD7-9835-C8347EFA1434}"/>
          </ac:picMkLst>
        </pc:picChg>
      </pc:sldChg>
      <pc:sldChg chg="modSp">
        <pc:chgData name="rhashimoto@hks.harvard.edu" userId="S::urn:spo:guest#rhashimoto@hks.harvard.edu::" providerId="AD" clId="Web-{9E799673-672C-5BAD-787B-26C1D3F8839B}" dt="2020-12-07T14:02:21.094" v="1"/>
        <pc:sldMkLst>
          <pc:docMk/>
          <pc:sldMk cId="1799938795" sldId="327"/>
        </pc:sldMkLst>
        <pc:picChg chg="mod">
          <ac:chgData name="rhashimoto@hks.harvard.edu" userId="S::urn:spo:guest#rhashimoto@hks.harvard.edu::" providerId="AD" clId="Web-{9E799673-672C-5BAD-787B-26C1D3F8839B}" dt="2020-12-07T14:02:21.094" v="1"/>
          <ac:picMkLst>
            <pc:docMk/>
            <pc:sldMk cId="1799938795" sldId="327"/>
            <ac:picMk id="14" creationId="{F297AAD5-5386-4CD7-9835-C8347EFA1434}"/>
          </ac:picMkLst>
        </pc:picChg>
      </pc:sldChg>
      <pc:sldChg chg="modSp add replId">
        <pc:chgData name="rhashimoto@hks.harvard.edu" userId="S::urn:spo:guest#rhashimoto@hks.harvard.edu::" providerId="AD" clId="Web-{9E799673-672C-5BAD-787B-26C1D3F8839B}" dt="2020-12-07T14:02:52.642" v="5"/>
        <pc:sldMkLst>
          <pc:docMk/>
          <pc:sldMk cId="1681898784" sldId="332"/>
        </pc:sldMkLst>
        <pc:picChg chg="mod">
          <ac:chgData name="rhashimoto@hks.harvard.edu" userId="S::urn:spo:guest#rhashimoto@hks.harvard.edu::" providerId="AD" clId="Web-{9E799673-672C-5BAD-787B-26C1D3F8839B}" dt="2020-12-07T14:02:52.642" v="5"/>
          <ac:picMkLst>
            <pc:docMk/>
            <pc:sldMk cId="1681898784" sldId="332"/>
            <ac:picMk id="14" creationId="{F297AAD5-5386-4CD7-9835-C8347EFA1434}"/>
          </ac:picMkLst>
        </pc:picChg>
      </pc:sldChg>
      <pc:sldChg chg="add del replId">
        <pc:chgData name="rhashimoto@hks.harvard.edu" userId="S::urn:spo:guest#rhashimoto@hks.harvard.edu::" providerId="AD" clId="Web-{9E799673-672C-5BAD-787B-26C1D3F8839B}" dt="2020-12-07T14:02:28.875" v="4"/>
        <pc:sldMkLst>
          <pc:docMk/>
          <pc:sldMk cId="1594609707" sldId="333"/>
        </pc:sldMkLst>
      </pc:sldChg>
    </pc:docChg>
  </pc:docChgLst>
  <pc:docChgLst>
    <pc:chgData name="Ryuichiro Hashimoto" userId="44c1e623b8bb472f" providerId="LiveId" clId="{7AFBC985-9C39-4ADF-B587-37887DED4109}"/>
    <pc:docChg chg="modSld">
      <pc:chgData name="Ryuichiro Hashimoto" userId="44c1e623b8bb472f" providerId="LiveId" clId="{7AFBC985-9C39-4ADF-B587-37887DED4109}" dt="2020-12-11T13:44:01.179" v="2" actId="14826"/>
      <pc:docMkLst>
        <pc:docMk/>
      </pc:docMkLst>
      <pc:sldChg chg="modSp">
        <pc:chgData name="Ryuichiro Hashimoto" userId="44c1e623b8bb472f" providerId="LiveId" clId="{7AFBC985-9C39-4ADF-B587-37887DED4109}" dt="2020-12-11T13:43:41.090" v="0" actId="14826"/>
        <pc:sldMkLst>
          <pc:docMk/>
          <pc:sldMk cId="2863280912" sldId="333"/>
        </pc:sldMkLst>
        <pc:picChg chg="mod">
          <ac:chgData name="Ryuichiro Hashimoto" userId="44c1e623b8bb472f" providerId="LiveId" clId="{7AFBC985-9C39-4ADF-B587-37887DED4109}" dt="2020-12-11T13:43:41.090" v="0" actId="14826"/>
          <ac:picMkLst>
            <pc:docMk/>
            <pc:sldMk cId="2863280912" sldId="333"/>
            <ac:picMk id="3" creationId="{6D37A21E-AD6F-4E8D-A2E4-AF74BDC3B589}"/>
          </ac:picMkLst>
        </pc:picChg>
      </pc:sldChg>
      <pc:sldChg chg="modSp">
        <pc:chgData name="Ryuichiro Hashimoto" userId="44c1e623b8bb472f" providerId="LiveId" clId="{7AFBC985-9C39-4ADF-B587-37887DED4109}" dt="2020-12-11T13:43:50.797" v="1" actId="14826"/>
        <pc:sldMkLst>
          <pc:docMk/>
          <pc:sldMk cId="956095302" sldId="335"/>
        </pc:sldMkLst>
        <pc:picChg chg="mod">
          <ac:chgData name="Ryuichiro Hashimoto" userId="44c1e623b8bb472f" providerId="LiveId" clId="{7AFBC985-9C39-4ADF-B587-37887DED4109}" dt="2020-12-11T13:43:50.797" v="1" actId="14826"/>
          <ac:picMkLst>
            <pc:docMk/>
            <pc:sldMk cId="956095302" sldId="335"/>
            <ac:picMk id="3" creationId="{6D37A21E-AD6F-4E8D-A2E4-AF74BDC3B589}"/>
          </ac:picMkLst>
        </pc:picChg>
      </pc:sldChg>
      <pc:sldChg chg="modSp">
        <pc:chgData name="Ryuichiro Hashimoto" userId="44c1e623b8bb472f" providerId="LiveId" clId="{7AFBC985-9C39-4ADF-B587-37887DED4109}" dt="2020-12-11T13:44:01.179" v="2" actId="14826"/>
        <pc:sldMkLst>
          <pc:docMk/>
          <pc:sldMk cId="774605815" sldId="336"/>
        </pc:sldMkLst>
        <pc:picChg chg="mod">
          <ac:chgData name="Ryuichiro Hashimoto" userId="44c1e623b8bb472f" providerId="LiveId" clId="{7AFBC985-9C39-4ADF-B587-37887DED4109}" dt="2020-12-11T13:44:01.179" v="2" actId="14826"/>
          <ac:picMkLst>
            <pc:docMk/>
            <pc:sldMk cId="774605815" sldId="336"/>
            <ac:picMk id="3" creationId="{6D37A21E-AD6F-4E8D-A2E4-AF74BDC3B589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pPr rtl="0"/>
            <a:fld id="{B2239A50-0738-4F1D-97F1-EE3AC4F5C9FB}" type="datetime1">
              <a:rPr lang="en-US" altLang="ja-JP" smtClean="0">
                <a:latin typeface="Meiryo UI" panose="020B0604030504040204" pitchFamily="50" charset="-128"/>
                <a:ea typeface="Meiryo UI" panose="020B0604030504040204" pitchFamily="50" charset="-128"/>
              </a:rPr>
              <a:t>12/11/2020</a:t>
            </a:fld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pPr rtl="0"/>
            <a:fld id="{1604A0D4-B89B-4ADD-AF9E-38636B40EE4E}" type="slidenum">
              <a:rPr lang="en-US" altLang="ja-JP" smtClean="0">
                <a:latin typeface="Meiryo UI" panose="020B0604030504040204" pitchFamily="50" charset="-128"/>
                <a:ea typeface="Meiryo UI" panose="020B0604030504040204" pitchFamily="50" charset="-128"/>
              </a:rPr>
              <a:t>‹#›</a:t>
            </a:fld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738915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87059384-CC69-4BAE-A68C-12D1D3FC378C}" type="datetime1">
              <a:rPr lang="en-US" altLang="ja-JP" smtClean="0"/>
              <a:t>12/11/2020</a:t>
            </a:fld>
            <a:endParaRPr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rtl="0"/>
            <a:endParaRPr lang="ja-JP" altLang="en-US" noProof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3454182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 rtl="0"/>
            <a:r>
              <a:rPr lang="ja-JP" altLang="en-US" noProof="0"/>
              <a:t>クリックしてマスター テキストのスタイルを編集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82869989-EB00-4EE7-BCB5-25BDC5BB29F8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9363614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78929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50858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421523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593931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06621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16276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96301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33880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07465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195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62177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6217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2506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4384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76027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555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56877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54744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グループ 4"/>
          <p:cNvGrpSpPr/>
          <p:nvPr userDrawn="1"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6" name="直線​​コネクタ 5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線​​コネクタ 6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線コネクタ 8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​​コネクタ 9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​​コネクタ 10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​​コネクタ 11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​​コネクタ 12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​​コネクタ 13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​​コネクタ 14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​​コネクタ 15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線​​コネクタ 16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​​コネクタ 17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​​コネクタ 18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線​​コネクタ 19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線​​コネクタ 20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​​コネクタ 21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グループ 22"/>
            <p:cNvGrpSpPr/>
            <p:nvPr userDrawn="1"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41" name="直線​​コネクタ 40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線​​コネクタ 41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線​​コネクタ 42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線​​コネクタ(S) 43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線​​コネクタ 44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6" name="グループ 45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52" name="直線​​コネクタ 51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直線​​コネクタ(S) 52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直線​​コネクタ(S) 53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直線​​コネクタ(S) 54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線​​コネクタ 55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7" name="直線​​コネクタ 46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線​​コネクタ(S) 47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直線​​コネクタ(S) 48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線​​コネクタ 49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線​​コネクタ 50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グループ 23"/>
            <p:cNvGrpSpPr/>
            <p:nvPr userDrawn="1"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25" name="直線コネクタ 24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線​​コネクタ 25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線​​コネクタ 26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線​​コネクタ(S) 27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​​コネクタ 28"/>
              <p:cNvCxnSpPr/>
              <p:nvPr/>
            </p:nvCxnSpPr>
            <p:spPr bwMode="hidden">
              <a:xfrm>
                <a:off x="515064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0" name="グループ 29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36" name="直線​​コネクタ 35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線​​コネクタ(S) 36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線​​コネクタ(S) 37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線​​コネクタ(S) 38"/>
                <p:cNvCxnSpPr/>
                <p:nvPr userDrawn="1"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線​​コネクタ 39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1" name="直線​​コネクタ 30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​​コネクタ(S) 31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線​​コネクタ(S) 32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線​​コネクタ 33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線コネクタ 34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93845" y="1909346"/>
            <a:ext cx="9604310" cy="3383280"/>
          </a:xfrm>
        </p:spPr>
        <p:txBody>
          <a:bodyPr rtlCol="0" anchor="b">
            <a:normAutofit/>
          </a:bodyPr>
          <a:lstStyle>
            <a:lvl1pPr algn="l">
              <a:lnSpc>
                <a:spcPct val="100000"/>
              </a:lnSpc>
              <a:defRPr sz="8000" cap="none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93845" y="5432564"/>
            <a:ext cx="9604310" cy="457200"/>
          </a:xfrm>
        </p:spPr>
        <p:txBody>
          <a:bodyPr rtlCol="0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ja-JP" altLang="en-US" noProof="0"/>
              <a:t>マスター サブタイトルの書式設定</a:t>
            </a:r>
          </a:p>
        </p:txBody>
      </p:sp>
      <p:cxnSp>
        <p:nvCxnSpPr>
          <p:cNvPr id="58" name="直線​​コネクタ 57"/>
          <p:cNvCxnSpPr/>
          <p:nvPr userDrawn="1"/>
        </p:nvCxnSpPr>
        <p:spPr>
          <a:xfrm>
            <a:off x="1295400" y="5294175"/>
            <a:ext cx="96012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886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 rtlCol="0"/>
          <a:lstStyle/>
          <a:p>
            <a:pPr lvl="0" rtl="0"/>
            <a:r>
              <a:rPr lang="ja-JP" altLang="en-US" noProof="0"/>
              <a:t>クリックしてマスター テキストのスタイルを編集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65F5401F-9999-454F-9A7B-F9B89ED9C91A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47715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9209314" y="489856"/>
            <a:ext cx="1687286" cy="5301343"/>
          </a:xfrm>
        </p:spPr>
        <p:txBody>
          <a:bodyPr vert="eaVert"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 hasCustomPrompt="1"/>
          </p:nvPr>
        </p:nvSpPr>
        <p:spPr>
          <a:xfrm>
            <a:off x="1295399" y="489856"/>
            <a:ext cx="7587344" cy="5301343"/>
          </a:xfrm>
        </p:spPr>
        <p:txBody>
          <a:bodyPr vert="eaVert" rtlCol="0"/>
          <a:lstStyle/>
          <a:p>
            <a:pPr lvl="0" rtl="0"/>
            <a:r>
              <a:rPr lang="ja-JP" altLang="en-US" noProof="0"/>
              <a:t>クリックしてマスター テキストのスタイルを編集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955442DE-D790-4AF6-98D1-6BB366851DDC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52463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 not remove" hidden="1">
            <a:extLst>
              <a:ext uri="{FF2B5EF4-FFF2-40B4-BE49-F238E27FC236}">
                <a16:creationId xmlns:a16="http://schemas.microsoft.com/office/drawing/2014/main" id="{8F51A1E2-EBF1-4FB5-9693-2C0BD33EF7F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FD0191-3B25-4A97-9507-DC8A1C4634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260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FD0191-3B25-4A97-9507-DC8A1C463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rtl="0"/>
            <a:r>
              <a:rPr lang="en-US" altLang="ja-JP" noProof="0"/>
              <a:t>ABC</a:t>
            </a:r>
            <a:endParaRPr lang="ja-JP" altLang="en-US" noProof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 hasCustomPrompt="1"/>
          </p:nvPr>
        </p:nvSpPr>
        <p:spPr/>
        <p:txBody>
          <a:bodyPr rtlCol="0"/>
          <a:lstStyle/>
          <a:p>
            <a:pPr lvl="0" rtl="0"/>
            <a:r>
              <a:rPr lang="en-US" altLang="ja-JP" noProof="0"/>
              <a:t>ABC</a:t>
            </a:r>
            <a:endParaRPr lang="ja-JP" altLang="en-US" noProof="0"/>
          </a:p>
          <a:p>
            <a:pPr lvl="1" rtl="0"/>
            <a:r>
              <a:rPr lang="en-US" altLang="ja-JP" noProof="0"/>
              <a:t>ABC</a:t>
            </a:r>
            <a:endParaRPr lang="ja-JP" altLang="en-US" noProof="0"/>
          </a:p>
          <a:p>
            <a:pPr lvl="2" rtl="0"/>
            <a:r>
              <a:rPr lang="en-US" altLang="ja-JP" noProof="0"/>
              <a:t>ABC</a:t>
            </a:r>
            <a:endParaRPr lang="ja-JP" altLang="en-US" noProof="0"/>
          </a:p>
          <a:p>
            <a:pPr lvl="3" rtl="0"/>
            <a:r>
              <a:rPr lang="en-US" altLang="ja-JP" noProof="0"/>
              <a:t>ABC</a:t>
            </a:r>
            <a:endParaRPr lang="ja-JP" altLang="en-US" noProof="0"/>
          </a:p>
          <a:p>
            <a:pPr lvl="4" rtl="0"/>
            <a:r>
              <a:rPr lang="en-US" altLang="ja-JP" noProof="0"/>
              <a:t>ABC</a:t>
            </a:r>
            <a:endParaRPr lang="ja-JP" altLang="en-US" noProof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A4D23076-6C35-4239-BC7E-18BC21FEEE34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11244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 ヘッダー">
    <p:bg>
      <p:bgPr>
        <a:gradFill flip="none" rotWithShape="1">
          <a:gsLst>
            <a:gs pos="0">
              <a:schemeClr val="tx1"/>
            </a:gs>
            <a:gs pos="97000">
              <a:schemeClr val="tx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295400" y="2541573"/>
            <a:ext cx="9601200" cy="2743200"/>
          </a:xfrm>
        </p:spPr>
        <p:txBody>
          <a:bodyPr rtlCol="0" anchor="b">
            <a:normAutofit/>
          </a:bodyPr>
          <a:lstStyle>
            <a:lvl1pPr>
              <a:lnSpc>
                <a:spcPct val="85000"/>
              </a:lnSpc>
              <a:defRPr sz="6000" cap="none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1295400" y="5431536"/>
            <a:ext cx="9601200" cy="457200"/>
          </a:xfrm>
        </p:spPr>
        <p:txBody>
          <a:bodyPr rtlCol="0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06778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段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1295400" y="1981199"/>
            <a:ext cx="4572000" cy="3810001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24600" y="1981199"/>
            <a:ext cx="4572000" cy="3810001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5EF484AD-21EA-4628-86BB-EA326AE28F68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404456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1295400" y="1818322"/>
            <a:ext cx="4572000" cy="6413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1295400" y="2503713"/>
            <a:ext cx="4572000" cy="3287487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324600" y="1818322"/>
            <a:ext cx="4572000" cy="6413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6324600" y="2503713"/>
            <a:ext cx="4572000" cy="3287487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C4818A72-7BCB-4800-828E-D7E851401F62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39790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A130545-DC52-4BAC-BC78-237D4702162D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23897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" name="グループ 160"/>
          <p:cNvGrpSpPr/>
          <p:nvPr userDrawn="1"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162" name="直線​​コネクタ(S) 161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直線​​コネクタ(S) 162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線​​コネクタ(S) 163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直線​​コネクタ(S) 164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直線​​コネクタ(S) 165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直線​​コネクタ 166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直線​​コネクタ 167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直線​​コネクタ(S) 168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直線​​コネクタ(S) 169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直線​​コネクタ(S) 170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直線​​コネクタ(S) 171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直線​​コネクタ 172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直線​​コネクタ 173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直線​​コネクタ(S) 174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直線​​コネクタ(S) 175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直線​​コネクタ 176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bg1">
                  <a:lumMod val="85000"/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8" name="グループ 177"/>
            <p:cNvGrpSpPr/>
            <p:nvPr userDrawn="1"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196" name="直線​​コネクタ 195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直線​​コネクタ 196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直線​​コネクタ 197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直線​​コネクタ 198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直線​​コネクタ 199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1" name="グループ 200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207" name="直線​​コネクタ 206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" name="直線​​コネクタ(S) 207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直線​​コネクタ 208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直線​​コネクタ 209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" name="直線​​コネクタ 210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02" name="直線​​コネクタ 201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直線​​コネクタ 202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直線​​コネクタ 203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直線​​コネクタ(S) 204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直線​​コネクタ 205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グループ 178"/>
            <p:cNvGrpSpPr/>
            <p:nvPr userDrawn="1"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180" name="直線​​コネクタ 179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直線​​コネクタ 180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直線​​コネクタ 181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直線​​コネクタ 182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直線​​コネクタ 183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5" name="グループ 184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191" name="直線​​コネクタ 190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直線​​コネクタ 191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直線​​コネクタ(S) 192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直線​​コネクタ(S) 193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直線​​コネクタ 194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  <a:alpha val="3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86" name="直線​​コネクタ 185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直線​​コネクタ(S) 186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直線​​コネクタ(S) 187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直線​​コネクタ(S) 188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直線​​コネクタ 189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3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13" name="フッター プレースホルダー 21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212" name="日付プレースホルダー 21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BCE75A9F-D334-4A20-83DC-80F1FE2C6ED9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214" name="スライド番号プレースホルダー 21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31375A4-56A4-47D6-9801-1991572033F7}" type="slidenum">
              <a:rPr lang="en-US" altLang="ja-JP" noProof="0" smtClean="0"/>
              <a:pPr rtl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14681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タイトル付きのコンテンツ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グループ 8"/>
          <p:cNvGrpSpPr/>
          <p:nvPr userDrawn="1"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10" name="直線​​コネクタ 9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​​コネクタ 10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​​コネクタ 11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​​コネクタ 12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​​コネクタ 13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​​コネクタ 14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​​コネクタ 15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線​​コネクタ 16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​​コネクタ 17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​​コネクタ 18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線​​コネクタ 19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線​​コネクタ 20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​​コネクタ 21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​​コネクタ 22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​​コネクタ 23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線コネクタ 24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グループ 25"/>
            <p:cNvGrpSpPr/>
            <p:nvPr userDrawn="1"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44" name="直線​​コネクタ 43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線​​コネクタ(S) 44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線​​コネクタ(S) 45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線​​コネクタ(S) 46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線​​コネクタ 47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9" name="グループ 48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55" name="直線​​コネクタ 54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線​​コネクタ(S) 55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​​コネクタ(S) 56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直線​​コネクタ 57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直線​​コネクタ 58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0" name="直線​​コネクタ 49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線​​コネクタ 50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線​​コネクタ(S) 51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​​コネクタ(S) 52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直線​​コネクタ 53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グループ 26"/>
            <p:cNvGrpSpPr/>
            <p:nvPr userDrawn="1"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28" name="直線​​コネクタ 27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​​コネクタ(S) 28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線​​コネクタ(S) 29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​​コネクタ(S) 30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​​コネクタ 31"/>
              <p:cNvCxnSpPr/>
              <p:nvPr/>
            </p:nvCxnSpPr>
            <p:spPr bwMode="hidden">
              <a:xfrm>
                <a:off x="515064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グループ 32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39" name="直線​​コネクタ 38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線​​コネクタ(S) 39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線​​コネクタ(S) 40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線​​コネクタ 41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線​​コネクタ 42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4" name="直線​​コネクタ 33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線コネクタ 34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線​​コネクタ(S) 35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線​​コネクタ(S) 36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線​​コネクタ 37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" name="長方形 6"/>
          <p:cNvSpPr/>
          <p:nvPr userDrawn="1"/>
        </p:nvSpPr>
        <p:spPr>
          <a:xfrm>
            <a:off x="0" y="0"/>
            <a:ext cx="7315200" cy="6858000"/>
          </a:xfrm>
          <a:prstGeom prst="rect">
            <a:avLst/>
          </a:prstGeom>
          <a:gradFill>
            <a:gsLst>
              <a:gs pos="69000">
                <a:schemeClr val="bg1"/>
              </a:gs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ja-JP" altLang="en-US" noProof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913152" y="571500"/>
            <a:ext cx="3657600" cy="2197100"/>
          </a:xfrm>
        </p:spPr>
        <p:txBody>
          <a:bodyPr rtlCol="0" anchor="b">
            <a:normAutofit/>
          </a:bodyPr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543197" y="571500"/>
            <a:ext cx="6217920" cy="5715000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  <a:p>
            <a:pPr lvl="1" rtl="0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 rtl="0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 rtl="0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 rtl="0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7913152" y="2995012"/>
            <a:ext cx="3657600" cy="2285950"/>
          </a:xfrm>
        </p:spPr>
        <p:txBody>
          <a:bodyPr rtlCol="0"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  <p:cxnSp>
        <p:nvCxnSpPr>
          <p:cNvPr id="60" name="直線​​コネクタ 59"/>
          <p:cNvCxnSpPr/>
          <p:nvPr userDrawn="1"/>
        </p:nvCxnSpPr>
        <p:spPr>
          <a:xfrm>
            <a:off x="7923089" y="2895600"/>
            <a:ext cx="365931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ja-JP" altLang="en-US" noProof="0"/>
              <a:t>フッターを追加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fld id="{156F9F9B-6ABB-4874-AC08-5F1C82329193}" type="datetime4">
              <a:rPr lang="ja-JP" altLang="en-US" smtClean="0"/>
              <a:t>2020年12月11日</a:t>
            </a:fld>
            <a:endParaRPr lang="en-US"/>
          </a:p>
        </p:txBody>
      </p:sp>
      <p:sp>
        <p:nvSpPr>
          <p:cNvPr id="8" name="スライド番号プレースホルダー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fld id="{E31375A4-56A4-47D6-9801-1991572033F7}" type="slidenum">
              <a:rPr lang="en-US" altLang="ja-JP" noProof="0" smtClean="0"/>
              <a:pPr rtl="0"/>
              <a:t>‹#›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166737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タイトル付きの図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52D1D5CA-B76D-4871-9D41-687135E6B67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グループ 7"/>
          <p:cNvGrpSpPr/>
          <p:nvPr/>
        </p:nvGrpSpPr>
        <p:grpSpPr bwMode="hidden">
          <a:xfrm>
            <a:off x="-1" y="0"/>
            <a:ext cx="12192002" cy="6858000"/>
            <a:chOff x="-1" y="0"/>
            <a:chExt cx="12192002" cy="6858000"/>
          </a:xfrm>
        </p:grpSpPr>
        <p:cxnSp>
          <p:nvCxnSpPr>
            <p:cNvPr id="9" name="直線コネクタ 8"/>
            <p:cNvCxnSpPr/>
            <p:nvPr/>
          </p:nvCxnSpPr>
          <p:spPr bwMode="hidden">
            <a:xfrm>
              <a:off x="61019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​​コネクタ 9"/>
            <p:cNvCxnSpPr/>
            <p:nvPr/>
          </p:nvCxnSpPr>
          <p:spPr bwMode="hidden">
            <a:xfrm>
              <a:off x="182933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​​コネクタ 10"/>
            <p:cNvCxnSpPr/>
            <p:nvPr/>
          </p:nvCxnSpPr>
          <p:spPr bwMode="hidden">
            <a:xfrm>
              <a:off x="304847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​​コネクタ 11"/>
            <p:cNvCxnSpPr/>
            <p:nvPr/>
          </p:nvCxnSpPr>
          <p:spPr bwMode="hidden">
            <a:xfrm>
              <a:off x="426760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​​コネクタ 12"/>
            <p:cNvCxnSpPr/>
            <p:nvPr/>
          </p:nvCxnSpPr>
          <p:spPr bwMode="hidden">
            <a:xfrm>
              <a:off x="548674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​​コネクタ 13"/>
            <p:cNvCxnSpPr/>
            <p:nvPr/>
          </p:nvCxnSpPr>
          <p:spPr bwMode="hidden">
            <a:xfrm>
              <a:off x="6705884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​​コネクタ 14"/>
            <p:cNvCxnSpPr/>
            <p:nvPr/>
          </p:nvCxnSpPr>
          <p:spPr bwMode="hidden">
            <a:xfrm>
              <a:off x="7925022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​​コネクタ 15"/>
            <p:cNvCxnSpPr/>
            <p:nvPr/>
          </p:nvCxnSpPr>
          <p:spPr bwMode="hidden">
            <a:xfrm>
              <a:off x="9144160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線​​コネクタ 16"/>
            <p:cNvCxnSpPr/>
            <p:nvPr/>
          </p:nvCxnSpPr>
          <p:spPr bwMode="hidden">
            <a:xfrm>
              <a:off x="10363298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​​コネクタ 17"/>
            <p:cNvCxnSpPr/>
            <p:nvPr/>
          </p:nvCxnSpPr>
          <p:spPr bwMode="hidden">
            <a:xfrm>
              <a:off x="11582436" y="0"/>
              <a:ext cx="0" cy="685800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​​コネクタ 18"/>
            <p:cNvCxnSpPr/>
            <p:nvPr/>
          </p:nvCxnSpPr>
          <p:spPr bwMode="hidden">
            <a:xfrm>
              <a:off x="2819" y="38648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線​​コネクタ 19"/>
            <p:cNvCxnSpPr/>
            <p:nvPr/>
          </p:nvCxnSpPr>
          <p:spPr bwMode="hidden">
            <a:xfrm>
              <a:off x="2819" y="1611181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線​​コネクタ 20"/>
            <p:cNvCxnSpPr/>
            <p:nvPr/>
          </p:nvCxnSpPr>
          <p:spPr bwMode="hidden">
            <a:xfrm>
              <a:off x="2819" y="2835877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線​​コネクタ 21"/>
            <p:cNvCxnSpPr/>
            <p:nvPr/>
          </p:nvCxnSpPr>
          <p:spPr bwMode="hidden">
            <a:xfrm>
              <a:off x="2819" y="4060573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​​コネクタ 22"/>
            <p:cNvCxnSpPr/>
            <p:nvPr/>
          </p:nvCxnSpPr>
          <p:spPr bwMode="hidden">
            <a:xfrm>
              <a:off x="2819" y="5285269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​​コネクタ 23"/>
            <p:cNvCxnSpPr/>
            <p:nvPr/>
          </p:nvCxnSpPr>
          <p:spPr bwMode="hidden">
            <a:xfrm>
              <a:off x="2819" y="6509965"/>
              <a:ext cx="12188952" cy="0"/>
            </a:xfrm>
            <a:prstGeom prst="line">
              <a:avLst/>
            </a:prstGeom>
            <a:ln>
              <a:solidFill>
                <a:schemeClr val="accent1">
                  <a:lumMod val="75000"/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グループ 24"/>
            <p:cNvGrpSpPr/>
            <p:nvPr/>
          </p:nvGrpSpPr>
          <p:grpSpPr bwMode="hidden">
            <a:xfrm>
              <a:off x="-1" y="0"/>
              <a:ext cx="12192001" cy="6858000"/>
              <a:chOff x="-1" y="0"/>
              <a:chExt cx="12192001" cy="6858000"/>
            </a:xfrm>
          </p:grpSpPr>
          <p:cxnSp>
            <p:nvCxnSpPr>
              <p:cNvPr id="43" name="直線​​コネクタ 42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線​​コネクタ(S) 43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線​​コネクタ(S) 44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線​​コネクタ(S) 45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線​​コネクタ 46"/>
              <p:cNvCxnSpPr/>
              <p:nvPr/>
            </p:nvCxnSpPr>
            <p:spPr bwMode="hidden">
              <a:xfrm>
                <a:off x="510650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8" name="グループ 47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54" name="直線​​コネクタ 53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直線​​コネクタ(S) 54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線​​コネクタ(S) 55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​​コネクタ(S) 56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直線​​コネクタ 57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9" name="直線​​コネクタ 48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線​​コネクタ 49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線​​コネクタ 50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線​​コネクタ(S) 51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直線​​コネクタ 52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グループ 25"/>
            <p:cNvGrpSpPr/>
            <p:nvPr/>
          </p:nvGrpSpPr>
          <p:grpSpPr bwMode="hidden">
            <a:xfrm flipH="1">
              <a:off x="0" y="0"/>
              <a:ext cx="12192001" cy="6858000"/>
              <a:chOff x="-1" y="0"/>
              <a:chExt cx="12192001" cy="6858000"/>
            </a:xfrm>
          </p:grpSpPr>
          <p:cxnSp>
            <p:nvCxnSpPr>
              <p:cNvPr id="27" name="直線​​コネクタ(S) 26"/>
              <p:cNvCxnSpPr/>
              <p:nvPr/>
            </p:nvCxnSpPr>
            <p:spPr bwMode="hidden">
              <a:xfrm>
                <a:off x="225425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線​​コネクタ(S) 27"/>
              <p:cNvCxnSpPr/>
              <p:nvPr/>
            </p:nvCxnSpPr>
            <p:spPr bwMode="hidden">
              <a:xfrm>
                <a:off x="144915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​​コネクタ(S) 28"/>
              <p:cNvCxnSpPr/>
              <p:nvPr/>
            </p:nvCxnSpPr>
            <p:spPr bwMode="hidden">
              <a:xfrm>
                <a:off x="2665982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線​​コネクタ(S) 29"/>
              <p:cNvCxnSpPr/>
              <p:nvPr/>
            </p:nvCxnSpPr>
            <p:spPr bwMode="hidden">
              <a:xfrm>
                <a:off x="3885119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​​コネクタ 30"/>
              <p:cNvCxnSpPr/>
              <p:nvPr/>
            </p:nvCxnSpPr>
            <p:spPr bwMode="hidden">
              <a:xfrm>
                <a:off x="5150644" y="0"/>
                <a:ext cx="6815931" cy="6858000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グループ 31"/>
              <p:cNvGrpSpPr/>
              <p:nvPr/>
            </p:nvGrpSpPr>
            <p:grpSpPr bwMode="hidden">
              <a:xfrm>
                <a:off x="6327885" y="0"/>
                <a:ext cx="5864115" cy="5898673"/>
                <a:chOff x="6327885" y="0"/>
                <a:chExt cx="5864115" cy="5898673"/>
              </a:xfrm>
            </p:grpSpPr>
            <p:cxnSp>
              <p:nvCxnSpPr>
                <p:cNvPr id="38" name="直線​​コネクタ 37"/>
                <p:cNvCxnSpPr/>
                <p:nvPr/>
              </p:nvCxnSpPr>
              <p:spPr bwMode="hidden">
                <a:xfrm>
                  <a:off x="6327885" y="0"/>
                  <a:ext cx="5864115" cy="5898673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線​​コネクタ(S) 38"/>
                <p:cNvCxnSpPr/>
                <p:nvPr/>
              </p:nvCxnSpPr>
              <p:spPr bwMode="hidden">
                <a:xfrm>
                  <a:off x="7549268" y="0"/>
                  <a:ext cx="4642732" cy="4672425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線​​コネクタ(S) 39"/>
                <p:cNvCxnSpPr/>
                <p:nvPr/>
              </p:nvCxnSpPr>
              <p:spPr bwMode="hidden">
                <a:xfrm>
                  <a:off x="8772997" y="0"/>
                  <a:ext cx="3419003" cy="345674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線​​コネクタ(S) 40"/>
                <p:cNvCxnSpPr/>
                <p:nvPr/>
              </p:nvCxnSpPr>
              <p:spPr bwMode="hidden">
                <a:xfrm>
                  <a:off x="9982200" y="0"/>
                  <a:ext cx="2209800" cy="2226469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線​​コネクタ 41"/>
                <p:cNvCxnSpPr/>
                <p:nvPr/>
              </p:nvCxnSpPr>
              <p:spPr bwMode="hidden">
                <a:xfrm>
                  <a:off x="11199019" y="0"/>
                  <a:ext cx="992981" cy="1002506"/>
                </a:xfrm>
                <a:prstGeom prst="line">
                  <a:avLst/>
                </a:prstGeom>
                <a:ln>
                  <a:solidFill>
                    <a:schemeClr val="accent1">
                      <a:lumMod val="75000"/>
                      <a:alpha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3" name="直線​​コネクタ 32"/>
              <p:cNvCxnSpPr/>
              <p:nvPr/>
            </p:nvCxnSpPr>
            <p:spPr bwMode="hidden">
              <a:xfrm flipH="1" flipV="1">
                <a:off x="-1" y="1012053"/>
                <a:ext cx="5828811" cy="58459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線​​コネクタ 33"/>
              <p:cNvCxnSpPr/>
              <p:nvPr/>
            </p:nvCxnSpPr>
            <p:spPr bwMode="hidden">
              <a:xfrm flipH="1" flipV="1">
                <a:off x="-1" y="2227340"/>
                <a:ext cx="4614781" cy="4630658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線コネクタ 34"/>
              <p:cNvCxnSpPr/>
              <p:nvPr/>
            </p:nvCxnSpPr>
            <p:spPr bwMode="hidden">
              <a:xfrm flipH="1" flipV="1">
                <a:off x="-1" y="3432149"/>
                <a:ext cx="3398419" cy="3425849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線​​コネクタ(S) 35"/>
              <p:cNvCxnSpPr/>
              <p:nvPr/>
            </p:nvCxnSpPr>
            <p:spPr bwMode="hidden">
              <a:xfrm flipH="1" flipV="1">
                <a:off x="-1" y="4651431"/>
                <a:ext cx="2196496" cy="2206567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線​​コネクタ 36"/>
              <p:cNvCxnSpPr/>
              <p:nvPr/>
            </p:nvCxnSpPr>
            <p:spPr bwMode="hidden">
              <a:xfrm flipH="1" flipV="1">
                <a:off x="-1" y="5864453"/>
                <a:ext cx="987003" cy="993545"/>
              </a:xfrm>
              <a:prstGeom prst="line">
                <a:avLst/>
              </a:prstGeom>
              <a:ln>
                <a:solidFill>
                  <a:schemeClr val="accent1">
                    <a:lumMod val="75000"/>
                    <a:alpha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長方形 59"/>
          <p:cNvSpPr/>
          <p:nvPr/>
        </p:nvSpPr>
        <p:spPr>
          <a:xfrm>
            <a:off x="0" y="0"/>
            <a:ext cx="7315200" cy="6858000"/>
          </a:xfrm>
          <a:prstGeom prst="rect">
            <a:avLst/>
          </a:prstGeom>
          <a:gradFill>
            <a:gsLst>
              <a:gs pos="69000">
                <a:schemeClr val="bg1"/>
              </a:gs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ja-JP" altLang="en-US" noProof="0"/>
          </a:p>
        </p:txBody>
      </p:sp>
      <p:cxnSp>
        <p:nvCxnSpPr>
          <p:cNvPr id="59" name="直線​​コネクタ 58"/>
          <p:cNvCxnSpPr/>
          <p:nvPr/>
        </p:nvCxnSpPr>
        <p:spPr>
          <a:xfrm>
            <a:off x="7923089" y="2895600"/>
            <a:ext cx="365931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909560" y="576072"/>
            <a:ext cx="3657600" cy="2194560"/>
          </a:xfrm>
        </p:spPr>
        <p:txBody>
          <a:bodyPr rtlCol="0" anchor="b">
            <a:normAutofit/>
          </a:bodyPr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pPr rtl="0"/>
            <a:r>
              <a:rPr lang="ja-JP" altLang="en-US" noProof="0"/>
              <a:t>マスター タイトルの書式設定</a:t>
            </a:r>
          </a:p>
        </p:txBody>
      </p:sp>
      <p:sp>
        <p:nvSpPr>
          <p:cNvPr id="3" name="図プレースホルダー 2" descr="画像を追加する空のプレースホルダー。プレースホルダーをクリックし、追加する画像を選択します。"/>
          <p:cNvSpPr>
            <a:spLocks noGrp="1"/>
          </p:cNvSpPr>
          <p:nvPr>
            <p:ph type="pic" idx="1"/>
          </p:nvPr>
        </p:nvSpPr>
        <p:spPr>
          <a:xfrm>
            <a:off x="4412" y="-159"/>
            <a:ext cx="7315200" cy="6858000"/>
          </a:xfrm>
        </p:spPr>
        <p:txBody>
          <a:bodyPr tIns="4572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7909560" y="2999232"/>
            <a:ext cx="3657600" cy="2286000"/>
          </a:xfrm>
        </p:spPr>
        <p:txBody>
          <a:bodyPr rtlCol="0"/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62031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3000">
              <a:schemeClr val="bg1"/>
            </a:gs>
            <a:gs pos="0">
              <a:schemeClr val="bg1">
                <a:lumMod val="100000"/>
              </a:schemeClr>
            </a:gs>
            <a:gs pos="100000">
              <a:schemeClr val="bg1">
                <a:lumMod val="95000"/>
                <a:alpha val="6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A7B558-5594-4A74-A9DE-2B69E4916E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6438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A7B558-5594-4A74-A9DE-2B69E4916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576E9E6-3ACB-44E6-B981-7BFA288429C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ja-JP" altLang="en-US" sz="3200" b="1" i="0" baseline="0">
              <a:latin typeface="Meiryo UI" panose="020B0604030504040204" pitchFamily="34" charset="-128"/>
              <a:ea typeface="Meiryo UI" panose="020B0604030504040204" pitchFamily="34" charset="-128"/>
              <a:cs typeface="+mj-cs"/>
              <a:sym typeface="Meiryo UI" panose="020B0604030504040204" pitchFamily="34" charset="-128"/>
            </a:endParaRPr>
          </a:p>
        </p:txBody>
      </p: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09600" y="448577"/>
            <a:ext cx="10972800" cy="8540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rtl="0"/>
            <a:r>
              <a:rPr lang="en-US" altLang="ja-JP" noProof="0"/>
              <a:t>ABC</a:t>
            </a:r>
            <a:endParaRPr lang="ja-JP" altLang="en-US" noProof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09600" y="1552755"/>
            <a:ext cx="10972800" cy="4413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en-US" altLang="ja-JP" noProof="0"/>
              <a:t>ABC</a:t>
            </a:r>
            <a:endParaRPr lang="ja-JP" altLang="en-US" noProof="0"/>
          </a:p>
          <a:p>
            <a:pPr lvl="1" rtl="0"/>
            <a:r>
              <a:rPr lang="en-US" altLang="ja-JP" noProof="0"/>
              <a:t>ABC</a:t>
            </a:r>
            <a:endParaRPr lang="ja-JP" altLang="en-US" noProof="0"/>
          </a:p>
          <a:p>
            <a:pPr lvl="2" rtl="0"/>
            <a:r>
              <a:rPr lang="en-US" altLang="ja-JP" noProof="0"/>
              <a:t>ABC</a:t>
            </a:r>
            <a:endParaRPr lang="ja-JP" altLang="en-US" noProof="0"/>
          </a:p>
          <a:p>
            <a:pPr lvl="3" rtl="0"/>
            <a:r>
              <a:rPr lang="en-US" altLang="ja-JP" noProof="0"/>
              <a:t>ABC</a:t>
            </a:r>
            <a:endParaRPr lang="ja-JP" altLang="en-US" noProof="0"/>
          </a:p>
          <a:p>
            <a:pPr lvl="4" rtl="0"/>
            <a:r>
              <a:rPr lang="en-US" altLang="ja-JP" noProof="0"/>
              <a:t>ABC</a:t>
            </a:r>
            <a:endParaRPr lang="ja-JP" altLang="en-US" noProof="0"/>
          </a:p>
        </p:txBody>
      </p:sp>
      <p:cxnSp>
        <p:nvCxnSpPr>
          <p:cNvPr id="148" name="直線​​コネクタ 147"/>
          <p:cNvCxnSpPr/>
          <p:nvPr userDrawn="1"/>
        </p:nvCxnSpPr>
        <p:spPr>
          <a:xfrm>
            <a:off x="609600" y="6172200"/>
            <a:ext cx="109728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609601" y="6289679"/>
            <a:ext cx="6128030" cy="2224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フッターを追加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9294042" y="6289679"/>
            <a:ext cx="1332000" cy="2224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AE256363-F777-4CDC-B7B0-13449133AA3E}" type="datetime4">
              <a:rPr lang="ja-JP" altLang="en-US" smtClean="0"/>
              <a:t>2020年12月11日</a:t>
            </a:fld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10665311" y="6289679"/>
            <a:ext cx="918882" cy="2224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E31375A4-56A4-47D6-9801-1991572033F7}" type="slidenum">
              <a:rPr lang="en-US" altLang="ja-JP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4325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9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2">
              <a:lumMod val="75000"/>
            </a:schemeClr>
          </a:solidFill>
          <a:latin typeface="+mj-lt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8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20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8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2pPr>
      <a:lvl3pPr marL="685800" indent="-179388" algn="l" defTabSz="914400" rtl="0" eaLnBrk="1" latinLnBrk="0" hangingPunct="1">
        <a:lnSpc>
          <a:spcPct val="90000"/>
        </a:lnSpc>
        <a:spcBef>
          <a:spcPts val="8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6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3pPr>
      <a:lvl4pPr marL="91440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4pPr>
      <a:lvl5pPr marL="1143000" indent="-179388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</a:defRPr>
      </a:lvl5pPr>
      <a:lvl6pPr marL="137160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179388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878012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75000"/>
          </a:schemeClr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 userDrawn="1">
          <p15:clr>
            <a:srgbClr val="F26B43"/>
          </p15:clr>
        </p15:guide>
        <p15:guide id="4" pos="72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0C7F8AC-2472-4C91-A529-FEB290077CE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35000"/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1849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B0E7196-978D-4F9B-9709-67C2EE523949}"/>
              </a:ext>
            </a:extLst>
          </p:cNvPr>
          <p:cNvSpPr txBox="1">
            <a:spLocks/>
          </p:cNvSpPr>
          <p:nvPr/>
        </p:nvSpPr>
        <p:spPr>
          <a:xfrm>
            <a:off x="609600" y="2368025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/>
              <a:t>Project EA Sports - FIFA</a:t>
            </a:r>
            <a:endParaRPr lang="ja-JP" altLang="en-US" sz="3600" dirty="0"/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7E8C892A-0698-4EA5-B736-48B2F014CD37}"/>
              </a:ext>
            </a:extLst>
          </p:cNvPr>
          <p:cNvSpPr txBox="1">
            <a:spLocks/>
          </p:cNvSpPr>
          <p:nvPr/>
        </p:nvSpPr>
        <p:spPr>
          <a:xfrm>
            <a:off x="609599" y="3926613"/>
            <a:ext cx="11451771" cy="21994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Arial" pitchFamily="34" charset="0"/>
              <a:buNone/>
            </a:pPr>
            <a:r>
              <a:rPr lang="en-US" altLang="ja-JP" sz="2200" b="1" dirty="0">
                <a:solidFill>
                  <a:schemeClr val="accent2">
                    <a:lumMod val="75000"/>
                  </a:schemeClr>
                </a:solidFill>
              </a:rPr>
              <a:t>CS109a Final Project</a:t>
            </a:r>
          </a:p>
          <a:p>
            <a:pPr marL="0" indent="0">
              <a:spcAft>
                <a:spcPts val="600"/>
              </a:spcAft>
              <a:buFont typeface="Arial" pitchFamily="34" charset="0"/>
              <a:buNone/>
            </a:pPr>
            <a:r>
              <a:rPr lang="en-US" altLang="ja-JP" sz="2200" b="1" dirty="0">
                <a:solidFill>
                  <a:schemeClr val="accent2">
                    <a:lumMod val="75000"/>
                  </a:schemeClr>
                </a:solidFill>
              </a:rPr>
              <a:t>11 December 2020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altLang="ja-JP" sz="2200" b="1" dirty="0">
                <a:solidFill>
                  <a:schemeClr val="accent2">
                    <a:lumMod val="75000"/>
                  </a:schemeClr>
                </a:solidFill>
              </a:rPr>
              <a:t>Group 4 – Clement Brenot, Luis Corrales, Ryuichiro Hashimoto, Yuki Yaguchi</a:t>
            </a:r>
            <a:endParaRPr lang="ja-JP" altLang="en-US" sz="2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8480B-2672-4CF5-B8E6-EBF0DADF8EED}"/>
              </a:ext>
            </a:extLst>
          </p:cNvPr>
          <p:cNvCxnSpPr/>
          <p:nvPr/>
        </p:nvCxnSpPr>
        <p:spPr>
          <a:xfrm>
            <a:off x="609600" y="3552037"/>
            <a:ext cx="9144000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943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3A0EF-3198-4376-BE04-DDD365114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Meiryo UI"/>
                <a:cs typeface="Arial"/>
              </a:rPr>
              <a:t>Confusion Matrix for Predicted Positions</a:t>
            </a:r>
            <a:endParaRPr kumimoji="1" lang="en-US" dirty="0"/>
          </a:p>
        </p:txBody>
      </p:sp>
      <p:pic>
        <p:nvPicPr>
          <p:cNvPr id="4" name="Picture 4" descr="Chart, waterfall chart&#10;&#10;Description automatically generated">
            <a:extLst>
              <a:ext uri="{FF2B5EF4-FFF2-40B4-BE49-F238E27FC236}">
                <a16:creationId xmlns:a16="http://schemas.microsoft.com/office/drawing/2014/main" id="{A1E54A81-E162-48EE-89E8-BA4FE42D43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4699" y="1305762"/>
            <a:ext cx="5343345" cy="4413275"/>
          </a:xfrm>
        </p:spPr>
      </p:pic>
      <p:pic>
        <p:nvPicPr>
          <p:cNvPr id="6" name="Picture 6" descr="Timeline&#10;&#10;Description automatically generated">
            <a:extLst>
              <a:ext uri="{FF2B5EF4-FFF2-40B4-BE49-F238E27FC236}">
                <a16:creationId xmlns:a16="http://schemas.microsoft.com/office/drawing/2014/main" id="{DE0F8DD8-F7CF-4C33-A271-64058B54CD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4524" y="1303725"/>
            <a:ext cx="5207874" cy="4360907"/>
          </a:xfrm>
          <a:prstGeom prst="rect">
            <a:avLst/>
          </a:prstGeom>
        </p:spPr>
      </p:pic>
      <p:grpSp>
        <p:nvGrpSpPr>
          <p:cNvPr id="5" name="グループ化 92">
            <a:extLst>
              <a:ext uri="{FF2B5EF4-FFF2-40B4-BE49-F238E27FC236}">
                <a16:creationId xmlns:a16="http://schemas.microsoft.com/office/drawing/2014/main" id="{FC40C2A4-490B-4856-8BE5-EB046BF5D1A4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7" name="Rectangle: Rounded Corners 8">
              <a:extLst>
                <a:ext uri="{FF2B5EF4-FFF2-40B4-BE49-F238E27FC236}">
                  <a16:creationId xmlns:a16="http://schemas.microsoft.com/office/drawing/2014/main" id="{30582922-0756-47AB-B59C-DDEAE83D972D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8" name="Rectangle: Rounded Corners 8">
              <a:extLst>
                <a:ext uri="{FF2B5EF4-FFF2-40B4-BE49-F238E27FC236}">
                  <a16:creationId xmlns:a16="http://schemas.microsoft.com/office/drawing/2014/main" id="{23493835-7587-4C1F-B168-9A9601FB0E9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DB727023-DE5C-4624-9B58-52846D14ECE5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0" name="Rectangle: Rounded Corners 8">
              <a:extLst>
                <a:ext uri="{FF2B5EF4-FFF2-40B4-BE49-F238E27FC236}">
                  <a16:creationId xmlns:a16="http://schemas.microsoft.com/office/drawing/2014/main" id="{AD1003B3-0AA8-444C-A3D5-68EC04C10FE5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" name="Rectangle: Rounded Corners 8">
              <a:extLst>
                <a:ext uri="{FF2B5EF4-FFF2-40B4-BE49-F238E27FC236}">
                  <a16:creationId xmlns:a16="http://schemas.microsoft.com/office/drawing/2014/main" id="{69359D6D-CD2C-4CA5-BD79-306C775A4670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AC7C5AEB-8BE6-467E-849E-6118D9CDD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0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55635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7CCC7-106C-4DC0-B280-7353B72CC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PCA components of Grouped Positions: </a:t>
            </a:r>
            <a:br>
              <a:rPr lang="en-US">
                <a:cs typeface="Arial"/>
              </a:rPr>
            </a:br>
            <a:r>
              <a:rPr lang="en-US" sz="2700" b="0">
                <a:ea typeface="Meiryo UI"/>
                <a:cs typeface="Arial"/>
              </a:rPr>
              <a:t>2 and 3 Components </a:t>
            </a:r>
            <a:endParaRPr lang="en-US" sz="2700" b="0">
              <a:ea typeface="Meiryo UI"/>
            </a:endParaRPr>
          </a:p>
        </p:txBody>
      </p:sp>
      <p:pic>
        <p:nvPicPr>
          <p:cNvPr id="4" name="Picture 4" descr="Chart, radar chart, scatter chart&#10;&#10;Description automatically generated">
            <a:extLst>
              <a:ext uri="{FF2B5EF4-FFF2-40B4-BE49-F238E27FC236}">
                <a16:creationId xmlns:a16="http://schemas.microsoft.com/office/drawing/2014/main" id="{61DA0F49-1896-4598-B244-3671DB6C5F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87197" y="1510714"/>
            <a:ext cx="4609110" cy="4413275"/>
          </a:xfrm>
        </p:spPr>
      </p:pic>
      <p:pic>
        <p:nvPicPr>
          <p:cNvPr id="5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9B9F1863-7802-4963-94DF-FFB7F94387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3945" y="1480140"/>
            <a:ext cx="4104289" cy="4381197"/>
          </a:xfrm>
          <a:prstGeom prst="rect">
            <a:avLst/>
          </a:prstGeom>
        </p:spPr>
      </p:pic>
      <p:grpSp>
        <p:nvGrpSpPr>
          <p:cNvPr id="6" name="グループ化 92">
            <a:extLst>
              <a:ext uri="{FF2B5EF4-FFF2-40B4-BE49-F238E27FC236}">
                <a16:creationId xmlns:a16="http://schemas.microsoft.com/office/drawing/2014/main" id="{F4028C14-64AC-460B-8842-A44FE3D77382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7" name="Rectangle: Rounded Corners 8">
              <a:extLst>
                <a:ext uri="{FF2B5EF4-FFF2-40B4-BE49-F238E27FC236}">
                  <a16:creationId xmlns:a16="http://schemas.microsoft.com/office/drawing/2014/main" id="{66D30FDC-BF8B-4B51-9CA6-1BABCB3C8693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8" name="Rectangle: Rounded Corners 8">
              <a:extLst>
                <a:ext uri="{FF2B5EF4-FFF2-40B4-BE49-F238E27FC236}">
                  <a16:creationId xmlns:a16="http://schemas.microsoft.com/office/drawing/2014/main" id="{A1F53153-4CBF-4A4F-AAB7-F706D683FB19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F007CE7-B051-468C-8677-BA587E692065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0" name="Rectangle: Rounded Corners 8">
              <a:extLst>
                <a:ext uri="{FF2B5EF4-FFF2-40B4-BE49-F238E27FC236}">
                  <a16:creationId xmlns:a16="http://schemas.microsoft.com/office/drawing/2014/main" id="{E452A275-081E-4CDD-B53F-42876EA9936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" name="Rectangle: Rounded Corners 8">
              <a:extLst>
                <a:ext uri="{FF2B5EF4-FFF2-40B4-BE49-F238E27FC236}">
                  <a16:creationId xmlns:a16="http://schemas.microsoft.com/office/drawing/2014/main" id="{92832860-2434-47E8-8EAB-80E71613F6AF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3613E7D8-89CE-44F5-AFC2-F6F165202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1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10167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4. Part C – Which Club has the Best Staff?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3E52ADF4-6528-4AF3-9E8C-6F7BEDB20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2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4252223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3</a:t>
            </a:fld>
            <a:endParaRPr lang="ja-JP" altLang="en-US" noProof="0"/>
          </a:p>
        </p:txBody>
      </p:sp>
      <p:sp>
        <p:nvSpPr>
          <p:cNvPr id="10" name="コンテンツ プレースホルダー 2">
            <a:extLst>
              <a:ext uri="{FF2B5EF4-FFF2-40B4-BE49-F238E27FC236}">
                <a16:creationId xmlns:a16="http://schemas.microsoft.com/office/drawing/2014/main" id="{E7FB5E50-C110-4645-8045-906AD0D3E313}"/>
              </a:ext>
            </a:extLst>
          </p:cNvPr>
          <p:cNvSpPr txBox="1">
            <a:spLocks/>
          </p:cNvSpPr>
          <p:nvPr/>
        </p:nvSpPr>
        <p:spPr>
          <a:xfrm>
            <a:off x="544504" y="1471849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altLang="ja-JP" sz="1100" b="1">
                <a:latin typeface="+mj-lt"/>
                <a:ea typeface="Meiryo UI"/>
              </a:rPr>
              <a:t>Target variable: </a:t>
            </a:r>
            <a:endParaRPr lang="ja-JP" altLang="en-US" sz="1100">
              <a:latin typeface="+mj-lt"/>
              <a:cs typeface="Arial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nnual change in </a:t>
            </a:r>
            <a:r>
              <a:rPr lang="en-US" sz="1100" b="1">
                <a:solidFill>
                  <a:schemeClr val="accent2"/>
                </a:solidFill>
                <a:latin typeface="+mj-lt"/>
                <a:ea typeface="Meiryo UI"/>
              </a:rPr>
              <a:t>5 category</a:t>
            </a:r>
            <a:endParaRPr lang="en-US" altLang="ja-JP" sz="1100">
              <a:solidFill>
                <a:schemeClr val="accent2"/>
              </a:solidFill>
              <a:latin typeface="+mj-lt"/>
              <a:cs typeface="Arial"/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877250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3191142" y="1530122"/>
            <a:ext cx="316459" cy="440936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0F920116-1AD9-4FF1-AABA-0B9E70921ADB}"/>
              </a:ext>
            </a:extLst>
          </p:cNvPr>
          <p:cNvGrpSpPr/>
          <p:nvPr/>
        </p:nvGrpSpPr>
        <p:grpSpPr>
          <a:xfrm>
            <a:off x="912307" y="1961908"/>
            <a:ext cx="1716084" cy="1391382"/>
            <a:chOff x="1064393" y="1856462"/>
            <a:chExt cx="1600898" cy="1391382"/>
          </a:xfrm>
        </p:grpSpPr>
        <p:sp>
          <p:nvSpPr>
            <p:cNvPr id="18" name="四角形: 角を丸くする 17">
              <a:extLst>
                <a:ext uri="{FF2B5EF4-FFF2-40B4-BE49-F238E27FC236}">
                  <a16:creationId xmlns:a16="http://schemas.microsoft.com/office/drawing/2014/main" id="{637489A0-2E6F-4954-B9E7-43F7F30B60DF}"/>
                </a:ext>
              </a:extLst>
            </p:cNvPr>
            <p:cNvSpPr/>
            <p:nvPr/>
          </p:nvSpPr>
          <p:spPr>
            <a:xfrm>
              <a:off x="1064393" y="185646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overall rating (co)</a:t>
              </a:r>
            </a:p>
          </p:txBody>
        </p:sp>
        <p:sp>
          <p:nvSpPr>
            <p:cNvPr id="40" name="四角形: 角を丸くする 39">
              <a:extLst>
                <a:ext uri="{FF2B5EF4-FFF2-40B4-BE49-F238E27FC236}">
                  <a16:creationId xmlns:a16="http://schemas.microsoft.com/office/drawing/2014/main" id="{1471476D-57EA-4FAC-A540-8310A657EA39}"/>
                </a:ext>
              </a:extLst>
            </p:cNvPr>
            <p:cNvSpPr/>
            <p:nvPr/>
          </p:nvSpPr>
          <p:spPr>
            <a:xfrm>
              <a:off x="1064393" y="2144851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cs typeface="Arial"/>
                </a:rPr>
                <a:t>market value (co)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41" name="四角形: 角を丸くする 40">
              <a:extLst>
                <a:ext uri="{FF2B5EF4-FFF2-40B4-BE49-F238E27FC236}">
                  <a16:creationId xmlns:a16="http://schemas.microsoft.com/office/drawing/2014/main" id="{2E3853B9-5149-4D8C-AE85-8D15BD79F2C2}"/>
                </a:ext>
              </a:extLst>
            </p:cNvPr>
            <p:cNvSpPr/>
            <p:nvPr/>
          </p:nvSpPr>
          <p:spPr>
            <a:xfrm>
              <a:off x="1064393" y="2433240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cs typeface="Arial"/>
                </a:rPr>
                <a:t>technique (mc)</a:t>
              </a:r>
            </a:p>
          </p:txBody>
        </p:sp>
        <p:sp>
          <p:nvSpPr>
            <p:cNvPr id="42" name="四角形: 角を丸くする 41">
              <a:extLst>
                <a:ext uri="{FF2B5EF4-FFF2-40B4-BE49-F238E27FC236}">
                  <a16:creationId xmlns:a16="http://schemas.microsoft.com/office/drawing/2014/main" id="{952A29CC-E3F4-44A9-84DA-BAD4077583D4}"/>
                </a:ext>
              </a:extLst>
            </p:cNvPr>
            <p:cNvSpPr/>
            <p:nvPr/>
          </p:nvSpPr>
          <p:spPr>
            <a:xfrm>
              <a:off x="1064393" y="2721629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utility (</a:t>
              </a:r>
              <a:r>
                <a:rPr lang="en-US" sz="1200" err="1">
                  <a:solidFill>
                    <a:schemeClr val="tx1"/>
                  </a:solidFill>
                </a:rPr>
                <a:t>bc</a:t>
              </a:r>
              <a:r>
                <a:rPr lang="en-US" sz="1200">
                  <a:solidFill>
                    <a:schemeClr val="tx1"/>
                  </a:solidFill>
                </a:rPr>
                <a:t>)</a:t>
              </a:r>
            </a:p>
          </p:txBody>
        </p:sp>
        <p:sp>
          <p:nvSpPr>
            <p:cNvPr id="43" name="四角形: 角を丸くする 42">
              <a:extLst>
                <a:ext uri="{FF2B5EF4-FFF2-40B4-BE49-F238E27FC236}">
                  <a16:creationId xmlns:a16="http://schemas.microsoft.com/office/drawing/2014/main" id="{1323DFB1-7FB8-4025-92E2-FF5C602C7479}"/>
                </a:ext>
              </a:extLst>
            </p:cNvPr>
            <p:cNvSpPr/>
            <p:nvPr/>
          </p:nvSpPr>
          <p:spPr>
            <a:xfrm>
              <a:off x="1064393" y="3010018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injury resistance (</a:t>
              </a:r>
              <a:r>
                <a:rPr lang="en-US" sz="1200" err="1">
                  <a:solidFill>
                    <a:schemeClr val="tx1"/>
                  </a:solidFill>
                </a:rPr>
                <a:t>bc</a:t>
              </a:r>
              <a:r>
                <a:rPr lang="en-US" sz="1200">
                  <a:solidFill>
                    <a:schemeClr val="tx1"/>
                  </a:solidFill>
                </a:rPr>
                <a:t>)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6" name="コンテンツ プレースホルダー 2">
            <a:extLst>
              <a:ext uri="{FF2B5EF4-FFF2-40B4-BE49-F238E27FC236}">
                <a16:creationId xmlns:a16="http://schemas.microsoft.com/office/drawing/2014/main" id="{5EF5A04A-4329-4C5F-A8B1-B5DBE47C849F}"/>
              </a:ext>
            </a:extLst>
          </p:cNvPr>
          <p:cNvSpPr txBox="1">
            <a:spLocks/>
          </p:cNvSpPr>
          <p:nvPr/>
        </p:nvSpPr>
        <p:spPr>
          <a:xfrm>
            <a:off x="544504" y="4103769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raining dataset: </a:t>
            </a:r>
            <a:r>
              <a:rPr lang="en-US" altLang="ja-JP" sz="1100">
                <a:latin typeface="+mj-lt"/>
                <a:ea typeface="Meiryo UI"/>
              </a:rPr>
              <a:t>teams in the leagues below (2015 – 2020)</a:t>
            </a:r>
            <a:endParaRPr lang="ja-JP" altLang="en-US" sz="1100">
              <a:latin typeface="+mj-lt"/>
              <a:ea typeface="Meiryo UI"/>
            </a:endParaRPr>
          </a:p>
        </p:txBody>
      </p: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1A0FE03B-EF53-47D7-8AE0-ACE3B6D6A76E}"/>
              </a:ext>
            </a:extLst>
          </p:cNvPr>
          <p:cNvGrpSpPr/>
          <p:nvPr/>
        </p:nvGrpSpPr>
        <p:grpSpPr>
          <a:xfrm>
            <a:off x="912307" y="4588419"/>
            <a:ext cx="1742665" cy="1382524"/>
            <a:chOff x="1064393" y="1856462"/>
            <a:chExt cx="1600898" cy="1391382"/>
          </a:xfrm>
        </p:grpSpPr>
        <p:sp>
          <p:nvSpPr>
            <p:cNvPr id="49" name="四角形: 角を丸くする 48">
              <a:extLst>
                <a:ext uri="{FF2B5EF4-FFF2-40B4-BE49-F238E27FC236}">
                  <a16:creationId xmlns:a16="http://schemas.microsoft.com/office/drawing/2014/main" id="{B25102B5-56D3-4B1B-BED8-0E78CA75DBA9}"/>
                </a:ext>
              </a:extLst>
            </p:cNvPr>
            <p:cNvSpPr/>
            <p:nvPr/>
          </p:nvSpPr>
          <p:spPr>
            <a:xfrm>
              <a:off x="1064393" y="185646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Premier League</a:t>
              </a:r>
            </a:p>
          </p:txBody>
        </p:sp>
        <p:sp>
          <p:nvSpPr>
            <p:cNvPr id="50" name="四角形: 角を丸くする 49">
              <a:extLst>
                <a:ext uri="{FF2B5EF4-FFF2-40B4-BE49-F238E27FC236}">
                  <a16:creationId xmlns:a16="http://schemas.microsoft.com/office/drawing/2014/main" id="{998B0DEE-2ABC-4D5B-AB76-ADEF774D3F1C}"/>
                </a:ext>
              </a:extLst>
            </p:cNvPr>
            <p:cNvSpPr/>
            <p:nvPr/>
          </p:nvSpPr>
          <p:spPr>
            <a:xfrm>
              <a:off x="1064393" y="2144851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Bundesliga</a:t>
              </a:r>
            </a:p>
          </p:txBody>
        </p:sp>
        <p:sp>
          <p:nvSpPr>
            <p:cNvPr id="51" name="四角形: 角を丸くする 50">
              <a:extLst>
                <a:ext uri="{FF2B5EF4-FFF2-40B4-BE49-F238E27FC236}">
                  <a16:creationId xmlns:a16="http://schemas.microsoft.com/office/drawing/2014/main" id="{32B54208-3A8D-43F3-9CA3-D5250358A53B}"/>
                </a:ext>
              </a:extLst>
            </p:cNvPr>
            <p:cNvSpPr/>
            <p:nvPr/>
          </p:nvSpPr>
          <p:spPr>
            <a:xfrm>
              <a:off x="1064393" y="2433240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igue 1</a:t>
              </a:r>
            </a:p>
          </p:txBody>
        </p:sp>
        <p:sp>
          <p:nvSpPr>
            <p:cNvPr id="52" name="四角形: 角を丸くする 51">
              <a:extLst>
                <a:ext uri="{FF2B5EF4-FFF2-40B4-BE49-F238E27FC236}">
                  <a16:creationId xmlns:a16="http://schemas.microsoft.com/office/drawing/2014/main" id="{3967DD6B-B53A-4097-8F5F-216F61349AE2}"/>
                </a:ext>
              </a:extLst>
            </p:cNvPr>
            <p:cNvSpPr/>
            <p:nvPr/>
          </p:nvSpPr>
          <p:spPr>
            <a:xfrm>
              <a:off x="1064393" y="2721629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a Liga</a:t>
              </a:r>
            </a:p>
          </p:txBody>
        </p:sp>
        <p:sp>
          <p:nvSpPr>
            <p:cNvPr id="53" name="四角形: 角を丸くする 52">
              <a:extLst>
                <a:ext uri="{FF2B5EF4-FFF2-40B4-BE49-F238E27FC236}">
                  <a16:creationId xmlns:a16="http://schemas.microsoft.com/office/drawing/2014/main" id="{EE365F45-6A00-408C-BB58-19FCD3FFCC73}"/>
                </a:ext>
              </a:extLst>
            </p:cNvPr>
            <p:cNvSpPr/>
            <p:nvPr/>
          </p:nvSpPr>
          <p:spPr>
            <a:xfrm>
              <a:off x="1064393" y="3010018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Serie A</a:t>
              </a:r>
            </a:p>
          </p:txBody>
        </p:sp>
      </p:grp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3617769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3975445" y="1088622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3802934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4763091" y="1431140"/>
            <a:ext cx="1336725" cy="3160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raining variables</a:t>
            </a:r>
            <a:endParaRPr lang="ja-JP" altLang="en-US" sz="1000" b="1">
              <a:solidFill>
                <a:schemeClr val="accent2"/>
              </a:solidFill>
              <a:latin typeface="+mj-lt"/>
              <a:ea typeface="Meiryo UI"/>
            </a:endParaRPr>
          </a:p>
        </p:txBody>
      </p:sp>
      <p:sp>
        <p:nvSpPr>
          <p:cNvPr id="87" name="コンテンツ プレースホルダー 2">
            <a:extLst>
              <a:ext uri="{FF2B5EF4-FFF2-40B4-BE49-F238E27FC236}">
                <a16:creationId xmlns:a16="http://schemas.microsoft.com/office/drawing/2014/main" id="{FD6B039C-D7CC-4D97-B95F-1361242B5170}"/>
              </a:ext>
            </a:extLst>
          </p:cNvPr>
          <p:cNvSpPr txBox="1">
            <a:spLocks/>
          </p:cNvSpPr>
          <p:nvPr/>
        </p:nvSpPr>
        <p:spPr>
          <a:xfrm>
            <a:off x="3697034" y="5740528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</a:rPr>
              <a:t>Hyperparameter tuning using random search with cross validation</a:t>
            </a:r>
          </a:p>
        </p:txBody>
      </p:sp>
      <p:sp>
        <p:nvSpPr>
          <p:cNvPr id="88" name="コンテンツ プレースホルダー 2">
            <a:extLst>
              <a:ext uri="{FF2B5EF4-FFF2-40B4-BE49-F238E27FC236}">
                <a16:creationId xmlns:a16="http://schemas.microsoft.com/office/drawing/2014/main" id="{D7216B4F-B5B0-44BF-9D82-BBF64FF63F0B}"/>
              </a:ext>
            </a:extLst>
          </p:cNvPr>
          <p:cNvSpPr txBox="1">
            <a:spLocks/>
          </p:cNvSpPr>
          <p:nvPr/>
        </p:nvSpPr>
        <p:spPr>
          <a:xfrm>
            <a:off x="6941528" y="1088622"/>
            <a:ext cx="2070842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Ensemble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24FFC47B-4596-48E5-B378-C258F7F3F6F5}"/>
              </a:ext>
            </a:extLst>
          </p:cNvPr>
          <p:cNvSpPr/>
          <p:nvPr/>
        </p:nvSpPr>
        <p:spPr>
          <a:xfrm>
            <a:off x="6686491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1088622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Final Output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2" name="Isosceles Triangle 27">
            <a:extLst>
              <a:ext uri="{FF2B5EF4-FFF2-40B4-BE49-F238E27FC236}">
                <a16:creationId xmlns:a16="http://schemas.microsoft.com/office/drawing/2014/main" id="{A30F00B6-2047-46B5-8C31-DA71383E4AFB}"/>
              </a:ext>
            </a:extLst>
          </p:cNvPr>
          <p:cNvSpPr/>
          <p:nvPr/>
        </p:nvSpPr>
        <p:spPr>
          <a:xfrm rot="5400000">
            <a:off x="4246415" y="3532318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94" name="コンテンツ プレースホルダー 2">
            <a:extLst>
              <a:ext uri="{FF2B5EF4-FFF2-40B4-BE49-F238E27FC236}">
                <a16:creationId xmlns:a16="http://schemas.microsoft.com/office/drawing/2014/main" id="{BC050F31-83BE-4497-BCC2-141ACC39C51C}"/>
              </a:ext>
            </a:extLst>
          </p:cNvPr>
          <p:cNvSpPr txBox="1">
            <a:spLocks/>
          </p:cNvSpPr>
          <p:nvPr/>
        </p:nvSpPr>
        <p:spPr>
          <a:xfrm>
            <a:off x="6786070" y="1377035"/>
            <a:ext cx="2371478" cy="37627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Compute </a:t>
            </a:r>
            <a:r>
              <a:rPr lang="en-US" altLang="ja-JP" sz="1100" b="1">
                <a:solidFill>
                  <a:schemeClr val="accent2"/>
                </a:solidFill>
                <a:latin typeface="+mj-lt"/>
                <a:ea typeface="Meiryo UI"/>
              </a:rPr>
              <a:t>variable importance of club dummies </a:t>
            </a:r>
            <a:r>
              <a:rPr lang="en-US" sz="1100" b="1">
                <a:latin typeface="+mj-lt"/>
                <a:ea typeface="Meiryo UI"/>
              </a:rPr>
              <a:t>for each model </a:t>
            </a:r>
            <a:endParaRPr lang="ja-JP" altLang="en-US" sz="1100">
              <a:solidFill>
                <a:schemeClr val="accent2"/>
              </a:solidFill>
              <a:latin typeface="+mj-lt"/>
              <a:ea typeface="Meiryo UI"/>
              <a:cs typeface="Arial"/>
            </a:endParaRPr>
          </a:p>
        </p:txBody>
      </p:sp>
      <p:sp>
        <p:nvSpPr>
          <p:cNvPr id="95" name="コンテンツ プレースホルダー 2">
            <a:extLst>
              <a:ext uri="{FF2B5EF4-FFF2-40B4-BE49-F238E27FC236}">
                <a16:creationId xmlns:a16="http://schemas.microsoft.com/office/drawing/2014/main" id="{413F7D67-8AC4-47C7-B46A-A54DFC9F8972}"/>
              </a:ext>
            </a:extLst>
          </p:cNvPr>
          <p:cNvSpPr txBox="1">
            <a:spLocks/>
          </p:cNvSpPr>
          <p:nvPr/>
        </p:nvSpPr>
        <p:spPr>
          <a:xfrm>
            <a:off x="6832266" y="3996806"/>
            <a:ext cx="2245973" cy="3583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Aggregate variable importance by </a:t>
            </a:r>
            <a:r>
              <a:rPr lang="en-US" altLang="ja-JP" sz="1100" b="1">
                <a:solidFill>
                  <a:schemeClr val="accent2"/>
                </a:solidFill>
                <a:latin typeface="+mj-lt"/>
                <a:ea typeface="Meiryo UI"/>
              </a:rPr>
              <a:t>category</a:t>
            </a:r>
            <a:endParaRPr lang="ja-JP" altLang="en-US" sz="1100">
              <a:solidFill>
                <a:schemeClr val="accent2"/>
              </a:solidFill>
              <a:latin typeface="+mj-lt"/>
              <a:ea typeface="Meiryo U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F6B2874-3319-43CB-A2A0-275260CA16BA}"/>
              </a:ext>
            </a:extLst>
          </p:cNvPr>
          <p:cNvGrpSpPr/>
          <p:nvPr/>
        </p:nvGrpSpPr>
        <p:grpSpPr>
          <a:xfrm>
            <a:off x="3781668" y="1806508"/>
            <a:ext cx="2273931" cy="1094248"/>
            <a:chOff x="3790632" y="1662580"/>
            <a:chExt cx="2273931" cy="995637"/>
          </a:xfrm>
        </p:grpSpPr>
        <p:sp>
          <p:nvSpPr>
            <p:cNvPr id="56" name="四角形: 角を丸くする 55">
              <a:extLst>
                <a:ext uri="{FF2B5EF4-FFF2-40B4-BE49-F238E27FC236}">
                  <a16:creationId xmlns:a16="http://schemas.microsoft.com/office/drawing/2014/main" id="{300BE465-19DF-4E6A-AE00-B648FDFC4F8E}"/>
                </a:ext>
              </a:extLst>
            </p:cNvPr>
            <p:cNvSpPr/>
            <p:nvPr/>
          </p:nvSpPr>
          <p:spPr>
            <a:xfrm>
              <a:off x="3790632" y="1662580"/>
              <a:ext cx="2273931" cy="995637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44" name="テキスト ボックス 43">
              <a:extLst>
                <a:ext uri="{FF2B5EF4-FFF2-40B4-BE49-F238E27FC236}">
                  <a16:creationId xmlns:a16="http://schemas.microsoft.com/office/drawing/2014/main" id="{24C009A9-940D-4226-96E3-F00415B1A58D}"/>
                </a:ext>
              </a:extLst>
            </p:cNvPr>
            <p:cNvSpPr txBox="1"/>
            <p:nvPr/>
          </p:nvSpPr>
          <p:spPr>
            <a:xfrm>
              <a:off x="3928230" y="2012933"/>
              <a:ext cx="8774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err="1"/>
                <a:t>XGBoost</a:t>
              </a:r>
              <a:endParaRPr lang="en-US" sz="1200" b="1"/>
            </a:p>
          </p:txBody>
        </p:sp>
        <p:grpSp>
          <p:nvGrpSpPr>
            <p:cNvPr id="96" name="グループ化 95">
              <a:extLst>
                <a:ext uri="{FF2B5EF4-FFF2-40B4-BE49-F238E27FC236}">
                  <a16:creationId xmlns:a16="http://schemas.microsoft.com/office/drawing/2014/main" id="{B1282B5E-2425-41BD-999D-EF1F5F65EB8D}"/>
                </a:ext>
              </a:extLst>
            </p:cNvPr>
            <p:cNvGrpSpPr/>
            <p:nvPr/>
          </p:nvGrpSpPr>
          <p:grpSpPr>
            <a:xfrm>
              <a:off x="4852245" y="1704920"/>
              <a:ext cx="1137009" cy="915935"/>
              <a:chOff x="4916736" y="1769214"/>
              <a:chExt cx="975646" cy="1023513"/>
            </a:xfrm>
          </p:grpSpPr>
          <p:sp>
            <p:nvSpPr>
              <p:cNvPr id="97" name="四角形: 角を丸くする 96">
                <a:extLst>
                  <a:ext uri="{FF2B5EF4-FFF2-40B4-BE49-F238E27FC236}">
                    <a16:creationId xmlns:a16="http://schemas.microsoft.com/office/drawing/2014/main" id="{1D8E2CBB-4147-4C36-862D-077CE0D51F46}"/>
                  </a:ext>
                </a:extLst>
              </p:cNvPr>
              <p:cNvSpPr/>
              <p:nvPr/>
            </p:nvSpPr>
            <p:spPr>
              <a:xfrm>
                <a:off x="4916736" y="1769214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overall rating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四角形: 角を丸くする 97">
                <a:extLst>
                  <a:ext uri="{FF2B5EF4-FFF2-40B4-BE49-F238E27FC236}">
                    <a16:creationId xmlns:a16="http://schemas.microsoft.com/office/drawing/2014/main" id="{448B4E81-7592-4A38-B99F-B8F004AE6DE1}"/>
                  </a:ext>
                </a:extLst>
              </p:cNvPr>
              <p:cNvSpPr/>
              <p:nvPr/>
            </p:nvSpPr>
            <p:spPr>
              <a:xfrm>
                <a:off x="4916736" y="1980153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market val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四角形: 角を丸くする 98">
                <a:extLst>
                  <a:ext uri="{FF2B5EF4-FFF2-40B4-BE49-F238E27FC236}">
                    <a16:creationId xmlns:a16="http://schemas.microsoft.com/office/drawing/2014/main" id="{D4C5153D-5841-4716-9C21-D5EAC7D0B3FF}"/>
                  </a:ext>
                </a:extLst>
              </p:cNvPr>
              <p:cNvSpPr/>
              <p:nvPr/>
            </p:nvSpPr>
            <p:spPr>
              <a:xfrm>
                <a:off x="4916736" y="2195050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techniq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四角形: 角を丸くする 99">
                <a:extLst>
                  <a:ext uri="{FF2B5EF4-FFF2-40B4-BE49-F238E27FC236}">
                    <a16:creationId xmlns:a16="http://schemas.microsoft.com/office/drawing/2014/main" id="{9B0E0A31-F4AB-473D-8FF3-78FB42E0EB65}"/>
                  </a:ext>
                </a:extLst>
              </p:cNvPr>
              <p:cNvSpPr/>
              <p:nvPr/>
            </p:nvSpPr>
            <p:spPr>
              <a:xfrm>
                <a:off x="4916736" y="2414741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  <a:cs typeface="Arial"/>
                  </a:rPr>
                  <a:t>utility</a:t>
                </a:r>
              </a:p>
            </p:txBody>
          </p:sp>
          <p:sp>
            <p:nvSpPr>
              <p:cNvPr id="101" name="四角形: 角を丸くする 100">
                <a:extLst>
                  <a:ext uri="{FF2B5EF4-FFF2-40B4-BE49-F238E27FC236}">
                    <a16:creationId xmlns:a16="http://schemas.microsoft.com/office/drawing/2014/main" id="{5C482F3E-E988-48E4-8160-A4115915DFE0}"/>
                  </a:ext>
                </a:extLst>
              </p:cNvPr>
              <p:cNvSpPr/>
              <p:nvPr/>
            </p:nvSpPr>
            <p:spPr>
              <a:xfrm>
                <a:off x="4916736" y="2631509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Injury resistance</a:t>
                </a:r>
              </a:p>
            </p:txBody>
          </p:sp>
        </p:grpSp>
      </p:grpSp>
      <p:sp>
        <p:nvSpPr>
          <p:cNvPr id="105" name="テキスト ボックス 104">
            <a:extLst>
              <a:ext uri="{FF2B5EF4-FFF2-40B4-BE49-F238E27FC236}">
                <a16:creationId xmlns:a16="http://schemas.microsoft.com/office/drawing/2014/main" id="{C77AB881-33B0-45B8-A110-6FFC2586468F}"/>
              </a:ext>
            </a:extLst>
          </p:cNvPr>
          <p:cNvSpPr txBox="1"/>
          <p:nvPr/>
        </p:nvSpPr>
        <p:spPr>
          <a:xfrm>
            <a:off x="8012766" y="2208978"/>
            <a:ext cx="1323873" cy="118494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/>
              <a:t>Variable importance: </a:t>
            </a:r>
            <a:endParaRPr lang="en-US" sz="1100">
              <a:cs typeface="Arial"/>
            </a:endParaRPr>
          </a:p>
          <a:p>
            <a:pPr>
              <a:spcBef>
                <a:spcPts val="600"/>
              </a:spcBef>
            </a:pPr>
            <a:r>
              <a:rPr lang="en-US" sz="1100"/>
              <a:t>Avg difference </a:t>
            </a:r>
            <a:endParaRPr lang="en-US" sz="1100">
              <a:cs typeface="Arial"/>
            </a:endParaRPr>
          </a:p>
          <a:p>
            <a:r>
              <a:rPr lang="en-US" sz="1100"/>
              <a:t>in prediction between the club dummy = 1 and 0.</a:t>
            </a:r>
            <a:endParaRPr lang="en-US" sz="1100">
              <a:cs typeface="Arial"/>
            </a:endParaRPr>
          </a:p>
        </p:txBody>
      </p:sp>
      <p:cxnSp>
        <p:nvCxnSpPr>
          <p:cNvPr id="117" name="直線コネクタ 116">
            <a:extLst>
              <a:ext uri="{FF2B5EF4-FFF2-40B4-BE49-F238E27FC236}">
                <a16:creationId xmlns:a16="http://schemas.microsoft.com/office/drawing/2014/main" id="{680A1ED4-E8EE-4DC1-A413-60F432C8F678}"/>
              </a:ext>
            </a:extLst>
          </p:cNvPr>
          <p:cNvCxnSpPr>
            <a:cxnSpLocks/>
          </p:cNvCxnSpPr>
          <p:nvPr/>
        </p:nvCxnSpPr>
        <p:spPr>
          <a:xfrm>
            <a:off x="6831681" y="3975607"/>
            <a:ext cx="236990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Isosceles Triangle 27">
            <a:extLst>
              <a:ext uri="{FF2B5EF4-FFF2-40B4-BE49-F238E27FC236}">
                <a16:creationId xmlns:a16="http://schemas.microsoft.com/office/drawing/2014/main" id="{DB6D1DF5-8030-485E-A747-80D34784D123}"/>
              </a:ext>
            </a:extLst>
          </p:cNvPr>
          <p:cNvSpPr/>
          <p:nvPr/>
        </p:nvSpPr>
        <p:spPr>
          <a:xfrm rot="5400000">
            <a:off x="7334781" y="3591775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771430" y="2653538"/>
            <a:ext cx="2168838" cy="1995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コンテンツ プレースホルダー 2">
            <a:extLst>
              <a:ext uri="{FF2B5EF4-FFF2-40B4-BE49-F238E27FC236}">
                <a16:creationId xmlns:a16="http://schemas.microsoft.com/office/drawing/2014/main" id="{437A2383-5328-4EA5-968D-D76B17A2C3EA}"/>
              </a:ext>
            </a:extLst>
          </p:cNvPr>
          <p:cNvSpPr txBox="1">
            <a:spLocks/>
          </p:cNvSpPr>
          <p:nvPr/>
        </p:nvSpPr>
        <p:spPr>
          <a:xfrm>
            <a:off x="9854998" y="2655591"/>
            <a:ext cx="1990847" cy="2009153"/>
          </a:xfrm>
          <a:prstGeom prst="rect">
            <a:avLst/>
          </a:prstGeom>
        </p:spPr>
        <p:txBody>
          <a:bodyPr vert="horz" lIns="91440" tIns="45720" rIns="91439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rgbClr val="1482AC"/>
              </a:buClr>
            </a:pPr>
            <a:endParaRPr lang="en-US" altLang="ja-JP" sz="1400">
              <a:latin typeface="+mj-lt"/>
              <a:ea typeface="Meiryo UI"/>
              <a:cs typeface="Arial"/>
            </a:endParaRPr>
          </a:p>
          <a:p>
            <a:pPr>
              <a:spcBef>
                <a:spcPts val="600"/>
              </a:spcBef>
              <a:buClr>
                <a:srgbClr val="1482AC"/>
              </a:buClr>
            </a:pPr>
            <a:endParaRPr lang="en-US" altLang="ja-JP" sz="1400">
              <a:latin typeface="+mj-lt"/>
              <a:ea typeface="Meiryo UI"/>
              <a:cs typeface="Arial"/>
            </a:endParaRPr>
          </a:p>
          <a:p>
            <a:pPr>
              <a:spcBef>
                <a:spcPts val="600"/>
              </a:spcBef>
              <a:buClr>
                <a:srgbClr val="1482AC"/>
              </a:buClr>
            </a:pPr>
            <a:r>
              <a:rPr lang="en-US" altLang="ja-JP" sz="1400">
                <a:latin typeface="+mj-lt"/>
                <a:ea typeface="Meiryo UI"/>
                <a:cs typeface="Arial"/>
              </a:rPr>
              <a:t>Total score (Avg of 5 sub-score)</a:t>
            </a:r>
            <a:endParaRPr lang="en-US">
              <a:cs typeface="Arial"/>
            </a:endParaRPr>
          </a:p>
          <a:p>
            <a:pPr marL="0" indent="0">
              <a:spcBef>
                <a:spcPts val="600"/>
              </a:spcBef>
              <a:buClr>
                <a:srgbClr val="1482AC"/>
              </a:buClr>
              <a:buNone/>
            </a:pPr>
            <a:endParaRPr lang="en-US" altLang="ja-JP" sz="1400">
              <a:latin typeface="Arial"/>
              <a:cs typeface="Arial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altLang="ja-JP" sz="1400">
                <a:latin typeface="+mj-lt"/>
                <a:ea typeface="Meiryo UI"/>
                <a:cs typeface="Arial"/>
              </a:rPr>
              <a:t>Clubs' overall ability to improve players' values &amp; qualities</a:t>
            </a:r>
            <a:endParaRPr lang="en-US"/>
          </a:p>
          <a:p>
            <a:pPr marL="0" indent="0">
              <a:spcBef>
                <a:spcPts val="600"/>
              </a:spcBef>
              <a:buNone/>
            </a:pPr>
            <a:endParaRPr lang="en-US" altLang="ja-JP" sz="1400">
              <a:latin typeface="+mj-lt"/>
              <a:ea typeface="Meiryo UI"/>
              <a:cs typeface="Arial"/>
            </a:endParaRPr>
          </a:p>
          <a:p>
            <a:pPr marL="0" indent="0">
              <a:spcBef>
                <a:spcPts val="600"/>
              </a:spcBef>
              <a:buClr>
                <a:srgbClr val="1482AC"/>
              </a:buClr>
              <a:buNone/>
            </a:pPr>
            <a:endParaRPr lang="en-US" sz="1400">
              <a:latin typeface="Arial"/>
              <a:ea typeface="Meiryo UI"/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91" name="コンテンツ プレースホルダー 2">
            <a:extLst>
              <a:ext uri="{FF2B5EF4-FFF2-40B4-BE49-F238E27FC236}">
                <a16:creationId xmlns:a16="http://schemas.microsoft.com/office/drawing/2014/main" id="{282FC822-A632-4FB7-B9A0-82BDB7E226C7}"/>
              </a:ext>
            </a:extLst>
          </p:cNvPr>
          <p:cNvSpPr txBox="1">
            <a:spLocks/>
          </p:cNvSpPr>
          <p:nvPr/>
        </p:nvSpPr>
        <p:spPr>
          <a:xfrm>
            <a:off x="517273" y="3312759"/>
            <a:ext cx="2589132" cy="4872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altLang="ja-JP" sz="1000">
                <a:latin typeface="+mj-lt"/>
                <a:ea typeface="Meiryo UI"/>
              </a:rPr>
              <a:t>*co: continuous, mc: multiclass (1 – 5)</a:t>
            </a:r>
            <a:endParaRPr lang="en-US"/>
          </a:p>
          <a:p>
            <a:pPr marL="0" indent="0" algn="ctr">
              <a:spcBef>
                <a:spcPts val="0"/>
              </a:spcBef>
              <a:buNone/>
            </a:pPr>
            <a:r>
              <a:rPr lang="en-US" altLang="ja-JP" sz="1000" err="1">
                <a:latin typeface="+mj-lt"/>
                <a:ea typeface="Meiryo UI"/>
              </a:rPr>
              <a:t>bc</a:t>
            </a:r>
            <a:r>
              <a:rPr lang="en-US" altLang="ja-JP" sz="1000">
                <a:latin typeface="+mj-lt"/>
                <a:ea typeface="Meiryo UI"/>
              </a:rPr>
              <a:t>: binary clas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altLang="ja-JP" sz="1000">
                <a:latin typeface="Arial"/>
                <a:ea typeface="Meiryo UI"/>
                <a:cs typeface="Arial"/>
              </a:rPr>
              <a:t>*utility = whether a player can play in multiple positions</a:t>
            </a:r>
            <a:endParaRPr lang="en-US" altLang="ja-JP" sz="1000">
              <a:latin typeface="Arial"/>
              <a:cs typeface="Arial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205963C-3F88-46CC-8694-B0CD79A86F96}"/>
              </a:ext>
            </a:extLst>
          </p:cNvPr>
          <p:cNvGrpSpPr/>
          <p:nvPr/>
        </p:nvGrpSpPr>
        <p:grpSpPr>
          <a:xfrm>
            <a:off x="3781667" y="3132243"/>
            <a:ext cx="2273931" cy="1097856"/>
            <a:chOff x="3790632" y="1662580"/>
            <a:chExt cx="2273931" cy="995637"/>
          </a:xfrm>
        </p:grpSpPr>
        <p:sp>
          <p:nvSpPr>
            <p:cNvPr id="125" name="四角形: 角を丸くする 55">
              <a:extLst>
                <a:ext uri="{FF2B5EF4-FFF2-40B4-BE49-F238E27FC236}">
                  <a16:creationId xmlns:a16="http://schemas.microsoft.com/office/drawing/2014/main" id="{1FC95ACB-881A-460C-ACAB-78ADD24B9B18}"/>
                </a:ext>
              </a:extLst>
            </p:cNvPr>
            <p:cNvSpPr/>
            <p:nvPr/>
          </p:nvSpPr>
          <p:spPr>
            <a:xfrm>
              <a:off x="3790632" y="1662580"/>
              <a:ext cx="2273931" cy="995637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26" name="テキスト ボックス 43">
              <a:extLst>
                <a:ext uri="{FF2B5EF4-FFF2-40B4-BE49-F238E27FC236}">
                  <a16:creationId xmlns:a16="http://schemas.microsoft.com/office/drawing/2014/main" id="{0B93982C-5012-4BC2-A517-4D650EBE7878}"/>
                </a:ext>
              </a:extLst>
            </p:cNvPr>
            <p:cNvSpPr txBox="1"/>
            <p:nvPr/>
          </p:nvSpPr>
          <p:spPr>
            <a:xfrm>
              <a:off x="3937195" y="1977074"/>
              <a:ext cx="877496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200" b="1"/>
                <a:t>Random</a:t>
              </a:r>
            </a:p>
            <a:p>
              <a:pPr algn="ctr"/>
              <a:r>
                <a:rPr lang="en-US" sz="1200" b="1">
                  <a:cs typeface="Arial"/>
                </a:rPr>
                <a:t>Forest</a:t>
              </a:r>
            </a:p>
          </p:txBody>
        </p:sp>
        <p:grpSp>
          <p:nvGrpSpPr>
            <p:cNvPr id="127" name="グループ化 95">
              <a:extLst>
                <a:ext uri="{FF2B5EF4-FFF2-40B4-BE49-F238E27FC236}">
                  <a16:creationId xmlns:a16="http://schemas.microsoft.com/office/drawing/2014/main" id="{AFA83E94-2537-4A56-A90A-998F7EA8EECA}"/>
                </a:ext>
              </a:extLst>
            </p:cNvPr>
            <p:cNvGrpSpPr/>
            <p:nvPr/>
          </p:nvGrpSpPr>
          <p:grpSpPr>
            <a:xfrm>
              <a:off x="4852245" y="1696818"/>
              <a:ext cx="1137009" cy="915935"/>
              <a:chOff x="4916736" y="1760160"/>
              <a:chExt cx="975646" cy="1023513"/>
            </a:xfrm>
          </p:grpSpPr>
          <p:sp>
            <p:nvSpPr>
              <p:cNvPr id="128" name="四角形: 角を丸くする 96">
                <a:extLst>
                  <a:ext uri="{FF2B5EF4-FFF2-40B4-BE49-F238E27FC236}">
                    <a16:creationId xmlns:a16="http://schemas.microsoft.com/office/drawing/2014/main" id="{5C0811B4-CF15-4EA5-8BE7-3E04536928AC}"/>
                  </a:ext>
                </a:extLst>
              </p:cNvPr>
              <p:cNvSpPr/>
              <p:nvPr/>
            </p:nvSpPr>
            <p:spPr>
              <a:xfrm>
                <a:off x="4916736" y="1760160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overall rating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四角形: 角を丸くする 97">
                <a:extLst>
                  <a:ext uri="{FF2B5EF4-FFF2-40B4-BE49-F238E27FC236}">
                    <a16:creationId xmlns:a16="http://schemas.microsoft.com/office/drawing/2014/main" id="{25401BE4-12C1-43F0-BDC2-EDA7CFF19EE6}"/>
                  </a:ext>
                </a:extLst>
              </p:cNvPr>
              <p:cNvSpPr/>
              <p:nvPr/>
            </p:nvSpPr>
            <p:spPr>
              <a:xfrm>
                <a:off x="4916736" y="1971099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market val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四角形: 角を丸くする 98">
                <a:extLst>
                  <a:ext uri="{FF2B5EF4-FFF2-40B4-BE49-F238E27FC236}">
                    <a16:creationId xmlns:a16="http://schemas.microsoft.com/office/drawing/2014/main" id="{55C971F1-C180-4F1A-A86C-B7E73756EA4E}"/>
                  </a:ext>
                </a:extLst>
              </p:cNvPr>
              <p:cNvSpPr/>
              <p:nvPr/>
            </p:nvSpPr>
            <p:spPr>
              <a:xfrm>
                <a:off x="4916736" y="2185996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techniq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四角形: 角を丸くする 99">
                <a:extLst>
                  <a:ext uri="{FF2B5EF4-FFF2-40B4-BE49-F238E27FC236}">
                    <a16:creationId xmlns:a16="http://schemas.microsoft.com/office/drawing/2014/main" id="{8EEF460E-8D94-4093-A055-4B89FAF81A20}"/>
                  </a:ext>
                </a:extLst>
              </p:cNvPr>
              <p:cNvSpPr/>
              <p:nvPr/>
            </p:nvSpPr>
            <p:spPr>
              <a:xfrm>
                <a:off x="4916736" y="2405687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utility</a:t>
                </a:r>
                <a:endParaRPr lang="en-US"/>
              </a:p>
            </p:txBody>
          </p:sp>
          <p:sp>
            <p:nvSpPr>
              <p:cNvPr id="132" name="四角形: 角を丸くする 100">
                <a:extLst>
                  <a:ext uri="{FF2B5EF4-FFF2-40B4-BE49-F238E27FC236}">
                    <a16:creationId xmlns:a16="http://schemas.microsoft.com/office/drawing/2014/main" id="{F4FB575D-24D7-42E3-9029-7CE267417170}"/>
                  </a:ext>
                </a:extLst>
              </p:cNvPr>
              <p:cNvSpPr/>
              <p:nvPr/>
            </p:nvSpPr>
            <p:spPr>
              <a:xfrm>
                <a:off x="4916736" y="2622455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Injury resistance</a:t>
                </a:r>
              </a:p>
            </p:txBody>
          </p:sp>
        </p:grpSp>
      </p:grpSp>
      <p:sp>
        <p:nvSpPr>
          <p:cNvPr id="152" name="コンテンツ プレースホルダー 2">
            <a:extLst>
              <a:ext uri="{FF2B5EF4-FFF2-40B4-BE49-F238E27FC236}">
                <a16:creationId xmlns:a16="http://schemas.microsoft.com/office/drawing/2014/main" id="{92FF87A8-75F5-41AD-ADAD-A4A69AC5D5F0}"/>
              </a:ext>
            </a:extLst>
          </p:cNvPr>
          <p:cNvSpPr txBox="1">
            <a:spLocks/>
          </p:cNvSpPr>
          <p:nvPr/>
        </p:nvSpPr>
        <p:spPr>
          <a:xfrm>
            <a:off x="8207592" y="5024882"/>
            <a:ext cx="1054980" cy="4109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altLang="ja-JP" sz="1100" b="1">
                <a:latin typeface="+mj-lt"/>
                <a:ea typeface="Meiryo UI"/>
                <a:cs typeface="Arial"/>
              </a:rPr>
              <a:t> </a:t>
            </a:r>
            <a:r>
              <a:rPr lang="en-US" altLang="ja-JP" sz="1100">
                <a:latin typeface="+mj-lt"/>
                <a:ea typeface="Meiryo UI"/>
                <a:cs typeface="Arial"/>
              </a:rPr>
              <a:t>Overall club performance</a:t>
            </a:r>
            <a:endParaRPr lang="en-US" altLang="ja-JP" sz="1100">
              <a:latin typeface="+mj-lt"/>
              <a:cs typeface="Arial"/>
            </a:endParaRPr>
          </a:p>
        </p:txBody>
      </p:sp>
      <p:grpSp>
        <p:nvGrpSpPr>
          <p:cNvPr id="153" name="グループ化 44">
            <a:extLst>
              <a:ext uri="{FF2B5EF4-FFF2-40B4-BE49-F238E27FC236}">
                <a16:creationId xmlns:a16="http://schemas.microsoft.com/office/drawing/2014/main" id="{AB3BDA1C-F9C0-470F-8D08-46224E1A9B74}"/>
              </a:ext>
            </a:extLst>
          </p:cNvPr>
          <p:cNvGrpSpPr/>
          <p:nvPr/>
        </p:nvGrpSpPr>
        <p:grpSpPr>
          <a:xfrm>
            <a:off x="6840713" y="4432338"/>
            <a:ext cx="1164316" cy="1621107"/>
            <a:chOff x="4916736" y="1778329"/>
            <a:chExt cx="975646" cy="1023513"/>
          </a:xfrm>
        </p:grpSpPr>
        <p:sp>
          <p:nvSpPr>
            <p:cNvPr id="154" name="四角形: 角を丸くする 63">
              <a:extLst>
                <a:ext uri="{FF2B5EF4-FFF2-40B4-BE49-F238E27FC236}">
                  <a16:creationId xmlns:a16="http://schemas.microsoft.com/office/drawing/2014/main" id="{0B464D91-89C3-4E77-8FD7-F9762557AB62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overall rating</a:t>
              </a:r>
            </a:p>
          </p:txBody>
        </p:sp>
        <p:sp>
          <p:nvSpPr>
            <p:cNvPr id="155" name="四角形: 角を丸くする 66">
              <a:extLst>
                <a:ext uri="{FF2B5EF4-FFF2-40B4-BE49-F238E27FC236}">
                  <a16:creationId xmlns:a16="http://schemas.microsoft.com/office/drawing/2014/main" id="{31936B5A-876B-4D82-A7CA-F8881D196D78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market value</a:t>
              </a: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6" name="四角形: 角を丸くする 67">
              <a:extLst>
                <a:ext uri="{FF2B5EF4-FFF2-40B4-BE49-F238E27FC236}">
                  <a16:creationId xmlns:a16="http://schemas.microsoft.com/office/drawing/2014/main" id="{36CEB783-C047-4C46-A349-C94D822665B8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technique</a:t>
              </a:r>
            </a:p>
          </p:txBody>
        </p:sp>
        <p:sp>
          <p:nvSpPr>
            <p:cNvPr id="157" name="四角形: 角を丸くする 68">
              <a:extLst>
                <a:ext uri="{FF2B5EF4-FFF2-40B4-BE49-F238E27FC236}">
                  <a16:creationId xmlns:a16="http://schemas.microsoft.com/office/drawing/2014/main" id="{ABB78A88-9E60-4F19-95F4-B3EEB2F90309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utility</a:t>
              </a: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8" name="四角形: 角を丸くする 69">
              <a:extLst>
                <a:ext uri="{FF2B5EF4-FFF2-40B4-BE49-F238E27FC236}">
                  <a16:creationId xmlns:a16="http://schemas.microsoft.com/office/drawing/2014/main" id="{77C5029F-069D-4A8F-9EA3-384B9829C4D9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Injury resistanc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627B9D2-BD7E-4B84-9608-9B182A6781D6}"/>
              </a:ext>
            </a:extLst>
          </p:cNvPr>
          <p:cNvGrpSpPr/>
          <p:nvPr/>
        </p:nvGrpSpPr>
        <p:grpSpPr>
          <a:xfrm>
            <a:off x="6842916" y="1826511"/>
            <a:ext cx="1116684" cy="1746269"/>
            <a:chOff x="6842916" y="1763758"/>
            <a:chExt cx="1116684" cy="1746269"/>
          </a:xfrm>
        </p:grpSpPr>
        <p:sp>
          <p:nvSpPr>
            <p:cNvPr id="102" name="四角形: 角を丸くする 101">
              <a:extLst>
                <a:ext uri="{FF2B5EF4-FFF2-40B4-BE49-F238E27FC236}">
                  <a16:creationId xmlns:a16="http://schemas.microsoft.com/office/drawing/2014/main" id="{C0DF28B2-1E01-4933-9E25-6EC011D05586}"/>
                </a:ext>
              </a:extLst>
            </p:cNvPr>
            <p:cNvSpPr/>
            <p:nvPr/>
          </p:nvSpPr>
          <p:spPr>
            <a:xfrm>
              <a:off x="6842917" y="1763758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err="1">
                  <a:solidFill>
                    <a:schemeClr val="tx1"/>
                  </a:solidFill>
                </a:rPr>
                <a:t>XGBoost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3" name="四角形: 角を丸くする 102">
              <a:extLst>
                <a:ext uri="{FF2B5EF4-FFF2-40B4-BE49-F238E27FC236}">
                  <a16:creationId xmlns:a16="http://schemas.microsoft.com/office/drawing/2014/main" id="{68A33FCD-CA7C-4E84-B602-F3BC81600AA6}"/>
                </a:ext>
              </a:extLst>
            </p:cNvPr>
            <p:cNvSpPr/>
            <p:nvPr/>
          </p:nvSpPr>
          <p:spPr>
            <a:xfrm>
              <a:off x="6842916" y="2212937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Random Forest</a:t>
              </a:r>
            </a:p>
          </p:txBody>
        </p:sp>
        <p:sp>
          <p:nvSpPr>
            <p:cNvPr id="104" name="四角形: 角を丸くする 103">
              <a:extLst>
                <a:ext uri="{FF2B5EF4-FFF2-40B4-BE49-F238E27FC236}">
                  <a16:creationId xmlns:a16="http://schemas.microsoft.com/office/drawing/2014/main" id="{6BD23100-EE79-4682-A6EC-FDE0C8CC838D}"/>
                </a:ext>
              </a:extLst>
            </p:cNvPr>
            <p:cNvSpPr/>
            <p:nvPr/>
          </p:nvSpPr>
          <p:spPr>
            <a:xfrm>
              <a:off x="6842916" y="2678255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ASSO</a:t>
              </a:r>
            </a:p>
          </p:txBody>
        </p:sp>
        <p:sp>
          <p:nvSpPr>
            <p:cNvPr id="3" name="四角形: 角を丸くする 102">
              <a:extLst>
                <a:ext uri="{FF2B5EF4-FFF2-40B4-BE49-F238E27FC236}">
                  <a16:creationId xmlns:a16="http://schemas.microsoft.com/office/drawing/2014/main" id="{41ABC168-CCC1-4FA6-A406-DD1B99327449}"/>
                </a:ext>
              </a:extLst>
            </p:cNvPr>
            <p:cNvSpPr/>
            <p:nvPr/>
          </p:nvSpPr>
          <p:spPr>
            <a:xfrm>
              <a:off x="6842916" y="3136301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ogistic Regression</a:t>
              </a:r>
              <a:endParaRPr lang="en-US" sz="1200">
                <a:solidFill>
                  <a:schemeClr val="tx1"/>
                </a:solidFill>
                <a:cs typeface="Arial"/>
              </a:endParaRPr>
            </a:p>
          </p:txBody>
        </p:sp>
      </p:grpSp>
      <p:sp>
        <p:nvSpPr>
          <p:cNvPr id="160" name="Isosceles Triangle 27">
            <a:extLst>
              <a:ext uri="{FF2B5EF4-FFF2-40B4-BE49-F238E27FC236}">
                <a16:creationId xmlns:a16="http://schemas.microsoft.com/office/drawing/2014/main" id="{1699C91E-EC26-4E16-B11F-FE990D3B3161}"/>
              </a:ext>
            </a:extLst>
          </p:cNvPr>
          <p:cNvSpPr/>
          <p:nvPr/>
        </p:nvSpPr>
        <p:spPr>
          <a:xfrm rot="5400000">
            <a:off x="7361102" y="5128799"/>
            <a:ext cx="1621561" cy="177666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162" name="コンテンツ プレースホルダー 2">
            <a:extLst>
              <a:ext uri="{FF2B5EF4-FFF2-40B4-BE49-F238E27FC236}">
                <a16:creationId xmlns:a16="http://schemas.microsoft.com/office/drawing/2014/main" id="{2E325347-D028-480C-A7A2-26F593B410D4}"/>
              </a:ext>
            </a:extLst>
          </p:cNvPr>
          <p:cNvSpPr txBox="1">
            <a:spLocks/>
          </p:cNvSpPr>
          <p:nvPr/>
        </p:nvSpPr>
        <p:spPr>
          <a:xfrm>
            <a:off x="6807786" y="3615893"/>
            <a:ext cx="2245973" cy="2391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All feature importance (5 indicators * 3 models) are rescaled to 0-100</a:t>
            </a:r>
            <a:endParaRPr lang="en-US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94F4BF0C-F4E3-4E48-A430-63B9ED741D8F}"/>
              </a:ext>
            </a:extLst>
          </p:cNvPr>
          <p:cNvGrpSpPr/>
          <p:nvPr/>
        </p:nvGrpSpPr>
        <p:grpSpPr>
          <a:xfrm>
            <a:off x="3781667" y="4523335"/>
            <a:ext cx="2273931" cy="1097856"/>
            <a:chOff x="3790632" y="1662580"/>
            <a:chExt cx="2273931" cy="995637"/>
          </a:xfrm>
        </p:grpSpPr>
        <p:sp>
          <p:nvSpPr>
            <p:cNvPr id="109" name="四角形: 角を丸くする 55">
              <a:extLst>
                <a:ext uri="{FF2B5EF4-FFF2-40B4-BE49-F238E27FC236}">
                  <a16:creationId xmlns:a16="http://schemas.microsoft.com/office/drawing/2014/main" id="{94E1F6EC-EFBA-4BA4-9E6C-3C7037D39ACF}"/>
                </a:ext>
              </a:extLst>
            </p:cNvPr>
            <p:cNvSpPr/>
            <p:nvPr/>
          </p:nvSpPr>
          <p:spPr>
            <a:xfrm>
              <a:off x="3790632" y="1662580"/>
              <a:ext cx="2273931" cy="995637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0" name="テキスト ボックス 43">
              <a:extLst>
                <a:ext uri="{FF2B5EF4-FFF2-40B4-BE49-F238E27FC236}">
                  <a16:creationId xmlns:a16="http://schemas.microsoft.com/office/drawing/2014/main" id="{736FC1A6-AFE9-497F-B430-F77FD07B6467}"/>
                </a:ext>
              </a:extLst>
            </p:cNvPr>
            <p:cNvSpPr txBox="1"/>
            <p:nvPr/>
          </p:nvSpPr>
          <p:spPr>
            <a:xfrm>
              <a:off x="3919474" y="1864577"/>
              <a:ext cx="877496" cy="5861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200" b="1"/>
                <a:t>LASSO</a:t>
              </a:r>
            </a:p>
            <a:p>
              <a:pPr algn="ctr"/>
              <a:r>
                <a:rPr lang="en-US" sz="1200" b="1">
                  <a:cs typeface="Arial"/>
                </a:rPr>
                <a:t>or</a:t>
              </a:r>
            </a:p>
            <a:p>
              <a:pPr algn="ctr"/>
              <a:r>
                <a:rPr lang="en-US" sz="1200" b="1">
                  <a:cs typeface="Arial"/>
                </a:rPr>
                <a:t>Logistic</a:t>
              </a:r>
            </a:p>
          </p:txBody>
        </p:sp>
        <p:grpSp>
          <p:nvGrpSpPr>
            <p:cNvPr id="111" name="グループ化 95">
              <a:extLst>
                <a:ext uri="{FF2B5EF4-FFF2-40B4-BE49-F238E27FC236}">
                  <a16:creationId xmlns:a16="http://schemas.microsoft.com/office/drawing/2014/main" id="{FCA60CE6-DB37-4548-A8B0-B3754F8BFE4A}"/>
                </a:ext>
              </a:extLst>
            </p:cNvPr>
            <p:cNvGrpSpPr/>
            <p:nvPr/>
          </p:nvGrpSpPr>
          <p:grpSpPr>
            <a:xfrm>
              <a:off x="4852245" y="1696818"/>
              <a:ext cx="1137009" cy="915935"/>
              <a:chOff x="4916736" y="1760160"/>
              <a:chExt cx="975646" cy="1023513"/>
            </a:xfrm>
          </p:grpSpPr>
          <p:sp>
            <p:nvSpPr>
              <p:cNvPr id="112" name="四角形: 角を丸くする 96">
                <a:extLst>
                  <a:ext uri="{FF2B5EF4-FFF2-40B4-BE49-F238E27FC236}">
                    <a16:creationId xmlns:a16="http://schemas.microsoft.com/office/drawing/2014/main" id="{21774F6B-A27B-47FB-9A7B-E1F869A4B5BC}"/>
                  </a:ext>
                </a:extLst>
              </p:cNvPr>
              <p:cNvSpPr/>
              <p:nvPr/>
            </p:nvSpPr>
            <p:spPr>
              <a:xfrm>
                <a:off x="4916736" y="1760160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overall rating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四角形: 角を丸くする 97">
                <a:extLst>
                  <a:ext uri="{FF2B5EF4-FFF2-40B4-BE49-F238E27FC236}">
                    <a16:creationId xmlns:a16="http://schemas.microsoft.com/office/drawing/2014/main" id="{FCFEB2F5-93AD-4F30-BE7F-1217DB7D44ED}"/>
                  </a:ext>
                </a:extLst>
              </p:cNvPr>
              <p:cNvSpPr/>
              <p:nvPr/>
            </p:nvSpPr>
            <p:spPr>
              <a:xfrm>
                <a:off x="4916736" y="1971099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market val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5" name="四角形: 角を丸くする 98">
                <a:extLst>
                  <a:ext uri="{FF2B5EF4-FFF2-40B4-BE49-F238E27FC236}">
                    <a16:creationId xmlns:a16="http://schemas.microsoft.com/office/drawing/2014/main" id="{BFE56F1A-071B-469D-886E-2E3E94096B61}"/>
                  </a:ext>
                </a:extLst>
              </p:cNvPr>
              <p:cNvSpPr/>
              <p:nvPr/>
            </p:nvSpPr>
            <p:spPr>
              <a:xfrm>
                <a:off x="4916736" y="2185996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technique</a:t>
                </a: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2" name="四角形: 角を丸くする 99">
                <a:extLst>
                  <a:ext uri="{FF2B5EF4-FFF2-40B4-BE49-F238E27FC236}">
                    <a16:creationId xmlns:a16="http://schemas.microsoft.com/office/drawing/2014/main" id="{058D259C-9550-4CAD-AD1C-6800CFA8C4A0}"/>
                  </a:ext>
                </a:extLst>
              </p:cNvPr>
              <p:cNvSpPr/>
              <p:nvPr/>
            </p:nvSpPr>
            <p:spPr>
              <a:xfrm>
                <a:off x="4916736" y="2405687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utility</a:t>
                </a:r>
                <a:endParaRPr lang="en-US"/>
              </a:p>
            </p:txBody>
          </p:sp>
          <p:sp>
            <p:nvSpPr>
              <p:cNvPr id="139" name="四角形: 角を丸くする 100">
                <a:extLst>
                  <a:ext uri="{FF2B5EF4-FFF2-40B4-BE49-F238E27FC236}">
                    <a16:creationId xmlns:a16="http://schemas.microsoft.com/office/drawing/2014/main" id="{B015EF32-78B4-449C-B0E3-642DD79DAC07}"/>
                  </a:ext>
                </a:extLst>
              </p:cNvPr>
              <p:cNvSpPr/>
              <p:nvPr/>
            </p:nvSpPr>
            <p:spPr>
              <a:xfrm>
                <a:off x="4916736" y="2622455"/>
                <a:ext cx="975646" cy="161218"/>
              </a:xfrm>
              <a:prstGeom prst="round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/>
                <a:r>
                  <a:rPr lang="en-US" sz="1000">
                    <a:solidFill>
                      <a:schemeClr val="tx1"/>
                    </a:solidFill>
                  </a:rPr>
                  <a:t>Injury resist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255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4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Scoring Methodology</a:t>
            </a:r>
            <a:endParaRPr lang="en-US">
              <a:cs typeface="Arial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0972800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Each sub score (1 – 5) is scaled to 0 – 100 based on variable importance from 3 models. 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00"/>
              </a:spcBef>
              <a:buClr>
                <a:srgbClr val="1D6294"/>
              </a:buClr>
            </a:pPr>
            <a:r>
              <a:rPr lang="en-US">
                <a:solidFill>
                  <a:schemeClr val="accent2">
                    <a:lumMod val="75000"/>
                  </a:schemeClr>
                </a:solidFill>
                <a:latin typeface="Arial"/>
                <a:ea typeface="Meiryo UI"/>
                <a:cs typeface="Arial"/>
              </a:rPr>
              <a:t>Total score is the average of sub scores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F12D65FC-FB00-4FB7-BFBC-1BD5C2F05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457463"/>
              </p:ext>
            </p:extLst>
          </p:nvPr>
        </p:nvGraphicFramePr>
        <p:xfrm>
          <a:off x="699976" y="1869558"/>
          <a:ext cx="10534484" cy="36029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12244">
                  <a:extLst>
                    <a:ext uri="{9D8B030D-6E8A-4147-A177-3AD203B41FA5}">
                      <a16:colId xmlns:a16="http://schemas.microsoft.com/office/drawing/2014/main" val="348694989"/>
                    </a:ext>
                  </a:extLst>
                </a:gridCol>
                <a:gridCol w="1945757">
                  <a:extLst>
                    <a:ext uri="{9D8B030D-6E8A-4147-A177-3AD203B41FA5}">
                      <a16:colId xmlns:a16="http://schemas.microsoft.com/office/drawing/2014/main" val="484434648"/>
                    </a:ext>
                  </a:extLst>
                </a:gridCol>
                <a:gridCol w="1842090">
                  <a:extLst>
                    <a:ext uri="{9D8B030D-6E8A-4147-A177-3AD203B41FA5}">
                      <a16:colId xmlns:a16="http://schemas.microsoft.com/office/drawing/2014/main" val="2364554557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833516253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2186910911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2775589577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1311036003"/>
                    </a:ext>
                  </a:extLst>
                </a:gridCol>
                <a:gridCol w="1036482">
                  <a:extLst>
                    <a:ext uri="{9D8B030D-6E8A-4147-A177-3AD203B41FA5}">
                      <a16:colId xmlns:a16="http://schemas.microsoft.com/office/drawing/2014/main" val="770675910"/>
                    </a:ext>
                  </a:extLst>
                </a:gridCol>
                <a:gridCol w="1251983">
                  <a:extLst>
                    <a:ext uri="{9D8B030D-6E8A-4147-A177-3AD203B41FA5}">
                      <a16:colId xmlns:a16="http://schemas.microsoft.com/office/drawing/2014/main" val="1961569941"/>
                    </a:ext>
                  </a:extLst>
                </a:gridCol>
              </a:tblGrid>
              <a:tr h="512347">
                <a:tc>
                  <a:txBody>
                    <a:bodyPr/>
                    <a:lstStyle/>
                    <a:p>
                      <a:pPr algn="ctr"/>
                      <a:endParaRPr lang="en-US" sz="11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Leag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Club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Total Scor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 (1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overall ratin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(2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Market val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(3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Techniq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 (4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Utilit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u="none" strike="noStrike" noProof="0">
                          <a:effectLst/>
                        </a:rPr>
                        <a:t> (5)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r>
                        <a:rPr lang="en-US" sz="1100">
                          <a:effectLst/>
                        </a:rPr>
                        <a:t>Injury resistanc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4738982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miens SC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0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81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2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9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7.4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80690861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Italian Serie 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Atalant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6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7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7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8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3382085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English Premier Leagu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Tottenham Hotspu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7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0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1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7.6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31227103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C Strasbourg Alsac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1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2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5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93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0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2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02255120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pain Primera Divis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CD Espanyo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9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2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0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8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6.1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0.6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99686114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: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19895506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tade de Reim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8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6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9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3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8.0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99600646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nch Ligue 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tade </a:t>
                      </a:r>
                      <a:r>
                        <a:rPr lang="en-US" sz="1200" err="1"/>
                        <a:t>Brestois</a:t>
                      </a:r>
                      <a:r>
                        <a:rPr lang="en-US" sz="1200"/>
                        <a:t> 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7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3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4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9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5.5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0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78675457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German 1. Bundeslig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ortuna Düsseldor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5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8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5.1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3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5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7.6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55902410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pain Primera Divis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CA Osasun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2.6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1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5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1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16846497"/>
                  </a:ext>
                </a:extLst>
              </a:tr>
              <a:tr h="28096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9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pain Primera Divis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Granada C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8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0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1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2.7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57563527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1A17FDC9-A1B8-4361-AB94-445022C44C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0231737"/>
              </p:ext>
            </p:extLst>
          </p:nvPr>
        </p:nvGraphicFramePr>
        <p:xfrm>
          <a:off x="2888511" y="5528930"/>
          <a:ext cx="8249807" cy="6314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73988">
                  <a:extLst>
                    <a:ext uri="{9D8B030D-6E8A-4147-A177-3AD203B41FA5}">
                      <a16:colId xmlns:a16="http://schemas.microsoft.com/office/drawing/2014/main" val="544800611"/>
                    </a:ext>
                  </a:extLst>
                </a:gridCol>
                <a:gridCol w="1036674">
                  <a:extLst>
                    <a:ext uri="{9D8B030D-6E8A-4147-A177-3AD203B41FA5}">
                      <a16:colId xmlns:a16="http://schemas.microsoft.com/office/drawing/2014/main" val="2008414481"/>
                    </a:ext>
                  </a:extLst>
                </a:gridCol>
                <a:gridCol w="1050769">
                  <a:extLst>
                    <a:ext uri="{9D8B030D-6E8A-4147-A177-3AD203B41FA5}">
                      <a16:colId xmlns:a16="http://schemas.microsoft.com/office/drawing/2014/main" val="936359605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2368565624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307233912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2371609789"/>
                    </a:ext>
                  </a:extLst>
                </a:gridCol>
                <a:gridCol w="1072094">
                  <a:extLst>
                    <a:ext uri="{9D8B030D-6E8A-4147-A177-3AD203B41FA5}">
                      <a16:colId xmlns:a16="http://schemas.microsoft.com/office/drawing/2014/main" val="776900507"/>
                    </a:ext>
                  </a:extLst>
                </a:gridCol>
              </a:tblGrid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Max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70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100.0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69545055"/>
                  </a:ext>
                </a:extLst>
              </a:tr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Me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48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38.3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46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8.7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35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5.1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05256932"/>
                  </a:ext>
                </a:extLst>
              </a:tr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Mi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28.4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0.0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82337022"/>
                  </a:ext>
                </a:extLst>
              </a:tr>
              <a:tr h="157864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effectLst/>
                        </a:rPr>
                        <a:t>Standard deviat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6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3.5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2.9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7.2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5.8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2.7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157166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872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5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Top 3 clubs vs. Bottom 3 clubs</a:t>
            </a:r>
            <a:endParaRPr lang="en-US" b="0">
              <a:ea typeface="+mj-lt"/>
              <a:cs typeface="+mj-lt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1274055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Amiens SC scores the best in player overall score, while Atlanta improves market value.</a:t>
            </a:r>
            <a:endParaRPr lang="en-US" altLang="ja-JP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>
              <a:lnSpc>
                <a:spcPct val="100000"/>
              </a:lnSpc>
              <a:spcBef>
                <a:spcPts val="1000"/>
              </a:spcBef>
              <a:buClr>
                <a:srgbClr val="1D6294"/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latin typeface="Arial"/>
                <a:ea typeface="Meiryo UI"/>
                <a:cs typeface="Arial"/>
              </a:rPr>
              <a:t>Bottom 3 clubs' performance are poor, especially for these two metrics.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D6294"/>
              </a:buClr>
            </a:pPr>
            <a:endParaRPr lang="en-US" altLang="ja-JP">
              <a:solidFill>
                <a:srgbClr val="1D6295"/>
              </a:solidFill>
              <a:latin typeface="Arial"/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6D37A21E-AD6F-4E8D-A2E4-AF74BDC3B58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627669" y="1750828"/>
            <a:ext cx="8803755" cy="4401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280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6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League Average</a:t>
            </a:r>
            <a:endParaRPr lang="en-US">
              <a:ea typeface="Meiryo UI"/>
              <a:cs typeface="+mj-lt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1274055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English Premier League and French Ligue 1 are, on average, better than other 3 leagues.</a:t>
            </a:r>
            <a:endParaRPr lang="en-US" altLang="ja-JP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6D37A21E-AD6F-4E8D-A2E4-AF74BDC3B58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397297" y="1442926"/>
            <a:ext cx="9273359" cy="4636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09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7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Score Distributions</a:t>
            </a:r>
            <a:endParaRPr lang="en-US">
              <a:ea typeface="Meiryo UI"/>
              <a:cs typeface="+mj-lt"/>
            </a:endParaRPr>
          </a:p>
          <a:p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1274055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Technique and Utility have a wider distribution than other scores.</a:t>
            </a:r>
            <a:endParaRPr lang="en-US" altLang="ja-JP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6D37A21E-AD6F-4E8D-A2E4-AF74BDC3B58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397298" y="1442926"/>
            <a:ext cx="9273357" cy="4636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60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5. Part D – How Things will be in 2021?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4D2DFE32-708A-4C85-B7DA-0569F9CA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8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194546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76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19</a:t>
            </a:fld>
            <a:endParaRPr lang="ja-JP" altLang="en-US" noProof="0"/>
          </a:p>
        </p:txBody>
      </p:sp>
      <p:sp>
        <p:nvSpPr>
          <p:cNvPr id="10" name="コンテンツ プレースホルダー 2">
            <a:extLst>
              <a:ext uri="{FF2B5EF4-FFF2-40B4-BE49-F238E27FC236}">
                <a16:creationId xmlns:a16="http://schemas.microsoft.com/office/drawing/2014/main" id="{E7FB5E50-C110-4645-8045-906AD0D3E313}"/>
              </a:ext>
            </a:extLst>
          </p:cNvPr>
          <p:cNvSpPr txBox="1">
            <a:spLocks/>
          </p:cNvSpPr>
          <p:nvPr/>
        </p:nvSpPr>
        <p:spPr>
          <a:xfrm>
            <a:off x="544504" y="1578175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Target variable: </a:t>
            </a:r>
            <a:r>
              <a:rPr lang="en-US" altLang="ja-JP" sz="1100" err="1">
                <a:latin typeface="+mj-lt"/>
              </a:rPr>
              <a:t>skill_summary</a:t>
            </a:r>
            <a:r>
              <a:rPr lang="en-US" altLang="ja-JP" sz="1100">
                <a:latin typeface="+mj-lt"/>
              </a:rPr>
              <a:t>(</a:t>
            </a:r>
            <a:r>
              <a:rPr lang="en-US" altLang="ja-JP" sz="1100">
                <a:solidFill>
                  <a:schemeClr val="accent2"/>
                </a:solidFill>
                <a:latin typeface="+mj-lt"/>
              </a:rPr>
              <a:t>average</a:t>
            </a:r>
            <a:r>
              <a:rPr lang="en-US" altLang="ja-JP" sz="1100">
                <a:latin typeface="+mj-lt"/>
              </a:rPr>
              <a:t> of all skills) of the </a:t>
            </a:r>
            <a:r>
              <a:rPr lang="en-US" altLang="ja-JP" sz="1100">
                <a:solidFill>
                  <a:schemeClr val="accent2"/>
                </a:solidFill>
                <a:latin typeface="+mj-lt"/>
              </a:rPr>
              <a:t>following year</a:t>
            </a:r>
            <a:endParaRPr lang="ja-JP" altLang="en-US" sz="11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877250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3191142" y="1515279"/>
            <a:ext cx="316459" cy="440936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46" name="コンテンツ プレースホルダー 2">
            <a:extLst>
              <a:ext uri="{FF2B5EF4-FFF2-40B4-BE49-F238E27FC236}">
                <a16:creationId xmlns:a16="http://schemas.microsoft.com/office/drawing/2014/main" id="{5EF5A04A-4329-4C5F-A8B1-B5DBE47C849F}"/>
              </a:ext>
            </a:extLst>
          </p:cNvPr>
          <p:cNvSpPr txBox="1">
            <a:spLocks/>
          </p:cNvSpPr>
          <p:nvPr/>
        </p:nvSpPr>
        <p:spPr>
          <a:xfrm>
            <a:off x="544504" y="3863494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Training dataset: </a:t>
            </a:r>
            <a:r>
              <a:rPr lang="en-US" altLang="ja-JP" sz="1100">
                <a:latin typeface="+mj-lt"/>
              </a:rPr>
              <a:t>teams in the leagues specified in instruction (below)</a:t>
            </a:r>
            <a:endParaRPr lang="ja-JP" altLang="en-US" sz="1100">
              <a:latin typeface="+mj-lt"/>
            </a:endParaRPr>
          </a:p>
        </p:txBody>
      </p: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1A0FE03B-EF53-47D7-8AE0-ACE3B6D6A76E}"/>
              </a:ext>
            </a:extLst>
          </p:cNvPr>
          <p:cNvGrpSpPr/>
          <p:nvPr/>
        </p:nvGrpSpPr>
        <p:grpSpPr>
          <a:xfrm>
            <a:off x="1009772" y="4410894"/>
            <a:ext cx="1600898" cy="1391382"/>
            <a:chOff x="1064393" y="1856462"/>
            <a:chExt cx="1600898" cy="1391382"/>
          </a:xfrm>
        </p:grpSpPr>
        <p:sp>
          <p:nvSpPr>
            <p:cNvPr id="49" name="四角形: 角を丸くする 48">
              <a:extLst>
                <a:ext uri="{FF2B5EF4-FFF2-40B4-BE49-F238E27FC236}">
                  <a16:creationId xmlns:a16="http://schemas.microsoft.com/office/drawing/2014/main" id="{B25102B5-56D3-4B1B-BED8-0E78CA75DBA9}"/>
                </a:ext>
              </a:extLst>
            </p:cNvPr>
            <p:cNvSpPr/>
            <p:nvPr/>
          </p:nvSpPr>
          <p:spPr>
            <a:xfrm>
              <a:off x="1064393" y="185646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Premier League</a:t>
              </a:r>
            </a:p>
          </p:txBody>
        </p:sp>
        <p:sp>
          <p:nvSpPr>
            <p:cNvPr id="50" name="四角形: 角を丸くする 49">
              <a:extLst>
                <a:ext uri="{FF2B5EF4-FFF2-40B4-BE49-F238E27FC236}">
                  <a16:creationId xmlns:a16="http://schemas.microsoft.com/office/drawing/2014/main" id="{998B0DEE-2ABC-4D5B-AB76-ADEF774D3F1C}"/>
                </a:ext>
              </a:extLst>
            </p:cNvPr>
            <p:cNvSpPr/>
            <p:nvPr/>
          </p:nvSpPr>
          <p:spPr>
            <a:xfrm>
              <a:off x="1064393" y="2144851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Bundesliga</a:t>
              </a:r>
            </a:p>
          </p:txBody>
        </p:sp>
        <p:sp>
          <p:nvSpPr>
            <p:cNvPr id="51" name="四角形: 角を丸くする 50">
              <a:extLst>
                <a:ext uri="{FF2B5EF4-FFF2-40B4-BE49-F238E27FC236}">
                  <a16:creationId xmlns:a16="http://schemas.microsoft.com/office/drawing/2014/main" id="{32B54208-3A8D-43F3-9CA3-D5250358A53B}"/>
                </a:ext>
              </a:extLst>
            </p:cNvPr>
            <p:cNvSpPr/>
            <p:nvPr/>
          </p:nvSpPr>
          <p:spPr>
            <a:xfrm>
              <a:off x="1064393" y="2433240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igue 1</a:t>
              </a:r>
            </a:p>
          </p:txBody>
        </p:sp>
        <p:sp>
          <p:nvSpPr>
            <p:cNvPr id="52" name="四角形: 角を丸くする 51">
              <a:extLst>
                <a:ext uri="{FF2B5EF4-FFF2-40B4-BE49-F238E27FC236}">
                  <a16:creationId xmlns:a16="http://schemas.microsoft.com/office/drawing/2014/main" id="{3967DD6B-B53A-4097-8F5F-216F61349AE2}"/>
                </a:ext>
              </a:extLst>
            </p:cNvPr>
            <p:cNvSpPr/>
            <p:nvPr/>
          </p:nvSpPr>
          <p:spPr>
            <a:xfrm>
              <a:off x="1064393" y="2721629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a Liga</a:t>
              </a:r>
            </a:p>
          </p:txBody>
        </p:sp>
        <p:sp>
          <p:nvSpPr>
            <p:cNvPr id="53" name="四角形: 角を丸くする 52">
              <a:extLst>
                <a:ext uri="{FF2B5EF4-FFF2-40B4-BE49-F238E27FC236}">
                  <a16:creationId xmlns:a16="http://schemas.microsoft.com/office/drawing/2014/main" id="{EE365F45-6A00-408C-BB58-19FCD3FFCC73}"/>
                </a:ext>
              </a:extLst>
            </p:cNvPr>
            <p:cNvSpPr/>
            <p:nvPr/>
          </p:nvSpPr>
          <p:spPr>
            <a:xfrm>
              <a:off x="1064393" y="3010018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Serie A</a:t>
              </a:r>
            </a:p>
          </p:txBody>
        </p:sp>
      </p:grp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3617769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3975445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300BE465-19DF-4E6A-AE00-B648FDFC4F8E}"/>
              </a:ext>
            </a:extLst>
          </p:cNvPr>
          <p:cNvSpPr/>
          <p:nvPr/>
        </p:nvSpPr>
        <p:spPr>
          <a:xfrm>
            <a:off x="3790632" y="1662580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9" name="四角形: 角を丸くする 58">
            <a:extLst>
              <a:ext uri="{FF2B5EF4-FFF2-40B4-BE49-F238E27FC236}">
                <a16:creationId xmlns:a16="http://schemas.microsoft.com/office/drawing/2014/main" id="{9259D7E4-1AD4-4581-A087-C4ED7A9B1708}"/>
              </a:ext>
            </a:extLst>
          </p:cNvPr>
          <p:cNvSpPr/>
          <p:nvPr/>
        </p:nvSpPr>
        <p:spPr>
          <a:xfrm>
            <a:off x="3790632" y="3077790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0" name="四角形: 角を丸くする 59">
            <a:extLst>
              <a:ext uri="{FF2B5EF4-FFF2-40B4-BE49-F238E27FC236}">
                <a16:creationId xmlns:a16="http://schemas.microsoft.com/office/drawing/2014/main" id="{3BD99CDE-6CE6-451E-9589-5060FA553EF8}"/>
              </a:ext>
            </a:extLst>
          </p:cNvPr>
          <p:cNvSpPr/>
          <p:nvPr/>
        </p:nvSpPr>
        <p:spPr>
          <a:xfrm>
            <a:off x="3779771" y="4493000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4C009A9-940D-4226-96E3-F00415B1A58D}"/>
              </a:ext>
            </a:extLst>
          </p:cNvPr>
          <p:cNvSpPr txBox="1"/>
          <p:nvPr/>
        </p:nvSpPr>
        <p:spPr>
          <a:xfrm>
            <a:off x="3928230" y="2111545"/>
            <a:ext cx="877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err="1"/>
              <a:t>XGBoost</a:t>
            </a:r>
            <a:endParaRPr lang="en-US" sz="1200" b="1"/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32A4CE61-7143-4B28-A387-83097975B942}"/>
              </a:ext>
            </a:extLst>
          </p:cNvPr>
          <p:cNvSpPr txBox="1"/>
          <p:nvPr/>
        </p:nvSpPr>
        <p:spPr>
          <a:xfrm>
            <a:off x="3928230" y="3434422"/>
            <a:ext cx="877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Random Forest</a:t>
            </a: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3B87171A-2363-4AB8-9D32-85F1EEC1BE62}"/>
              </a:ext>
            </a:extLst>
          </p:cNvPr>
          <p:cNvSpPr txBox="1"/>
          <p:nvPr/>
        </p:nvSpPr>
        <p:spPr>
          <a:xfrm>
            <a:off x="3928230" y="4836882"/>
            <a:ext cx="877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Elastic Net</a:t>
            </a: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3802934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4861702" y="1440104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Training data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75" name="グループ化 74">
            <a:extLst>
              <a:ext uri="{FF2B5EF4-FFF2-40B4-BE49-F238E27FC236}">
                <a16:creationId xmlns:a16="http://schemas.microsoft.com/office/drawing/2014/main" id="{4B7674F1-4D18-4805-85CB-137D16F3C504}"/>
              </a:ext>
            </a:extLst>
          </p:cNvPr>
          <p:cNvGrpSpPr/>
          <p:nvPr/>
        </p:nvGrpSpPr>
        <p:grpSpPr>
          <a:xfrm>
            <a:off x="4943324" y="3179753"/>
            <a:ext cx="975646" cy="1023513"/>
            <a:chOff x="4916736" y="1778329"/>
            <a:chExt cx="975646" cy="1023513"/>
          </a:xfrm>
        </p:grpSpPr>
        <p:sp>
          <p:nvSpPr>
            <p:cNvPr id="76" name="四角形: 角を丸くする 75">
              <a:extLst>
                <a:ext uri="{FF2B5EF4-FFF2-40B4-BE49-F238E27FC236}">
                  <a16:creationId xmlns:a16="http://schemas.microsoft.com/office/drawing/2014/main" id="{F589206D-95F1-41D7-94C9-E83BB7098A85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77" name="四角形: 角を丸くする 76">
              <a:extLst>
                <a:ext uri="{FF2B5EF4-FFF2-40B4-BE49-F238E27FC236}">
                  <a16:creationId xmlns:a16="http://schemas.microsoft.com/office/drawing/2014/main" id="{DD2F2326-8B9F-4166-A115-1D91AB87C409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78" name="四角形: 角を丸くする 77">
              <a:extLst>
                <a:ext uri="{FF2B5EF4-FFF2-40B4-BE49-F238E27FC236}">
                  <a16:creationId xmlns:a16="http://schemas.microsoft.com/office/drawing/2014/main" id="{B619AD74-C5F7-4302-98EB-848F8B7BC0FD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79" name="四角形: 角を丸くする 78">
              <a:extLst>
                <a:ext uri="{FF2B5EF4-FFF2-40B4-BE49-F238E27FC236}">
                  <a16:creationId xmlns:a16="http://schemas.microsoft.com/office/drawing/2014/main" id="{3994B7AA-4E99-4694-9CDF-790524B1ACCE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80" name="四角形: 角を丸くする 79">
              <a:extLst>
                <a:ext uri="{FF2B5EF4-FFF2-40B4-BE49-F238E27FC236}">
                  <a16:creationId xmlns:a16="http://schemas.microsoft.com/office/drawing/2014/main" id="{4FBCFE8E-35BE-4E0A-B009-0E24E7ED0F6B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grpSp>
        <p:nvGrpSpPr>
          <p:cNvPr id="81" name="グループ化 80">
            <a:extLst>
              <a:ext uri="{FF2B5EF4-FFF2-40B4-BE49-F238E27FC236}">
                <a16:creationId xmlns:a16="http://schemas.microsoft.com/office/drawing/2014/main" id="{CCDD6EE7-7795-466B-8A02-7B3A9B0B67AB}"/>
              </a:ext>
            </a:extLst>
          </p:cNvPr>
          <p:cNvGrpSpPr/>
          <p:nvPr/>
        </p:nvGrpSpPr>
        <p:grpSpPr>
          <a:xfrm>
            <a:off x="4941891" y="4581200"/>
            <a:ext cx="975646" cy="1023513"/>
            <a:chOff x="4916736" y="1778329"/>
            <a:chExt cx="975646" cy="1023513"/>
          </a:xfrm>
        </p:grpSpPr>
        <p:sp>
          <p:nvSpPr>
            <p:cNvPr id="82" name="四角形: 角を丸くする 81">
              <a:extLst>
                <a:ext uri="{FF2B5EF4-FFF2-40B4-BE49-F238E27FC236}">
                  <a16:creationId xmlns:a16="http://schemas.microsoft.com/office/drawing/2014/main" id="{A87BA4E3-E235-4001-AF64-A21E6FD8B366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83" name="四角形: 角を丸くする 82">
              <a:extLst>
                <a:ext uri="{FF2B5EF4-FFF2-40B4-BE49-F238E27FC236}">
                  <a16:creationId xmlns:a16="http://schemas.microsoft.com/office/drawing/2014/main" id="{6389E9DF-BB04-40EB-A591-ACE64DC2A140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84" name="四角形: 角を丸くする 83">
              <a:extLst>
                <a:ext uri="{FF2B5EF4-FFF2-40B4-BE49-F238E27FC236}">
                  <a16:creationId xmlns:a16="http://schemas.microsoft.com/office/drawing/2014/main" id="{9D2ABC45-0962-487B-803D-E0A56D35446C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85" name="四角形: 角を丸くする 84">
              <a:extLst>
                <a:ext uri="{FF2B5EF4-FFF2-40B4-BE49-F238E27FC236}">
                  <a16:creationId xmlns:a16="http://schemas.microsoft.com/office/drawing/2014/main" id="{A8C207C4-BACA-4398-8BC5-EE1E7B718708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86" name="四角形: 角を丸くする 85">
              <a:extLst>
                <a:ext uri="{FF2B5EF4-FFF2-40B4-BE49-F238E27FC236}">
                  <a16:creationId xmlns:a16="http://schemas.microsoft.com/office/drawing/2014/main" id="{93ACFB86-D983-4135-A5F8-53BAFEADE814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sp>
        <p:nvSpPr>
          <p:cNvPr id="87" name="コンテンツ プレースホルダー 2">
            <a:extLst>
              <a:ext uri="{FF2B5EF4-FFF2-40B4-BE49-F238E27FC236}">
                <a16:creationId xmlns:a16="http://schemas.microsoft.com/office/drawing/2014/main" id="{FD6B039C-D7CC-4D97-B95F-1361242B5170}"/>
              </a:ext>
            </a:extLst>
          </p:cNvPr>
          <p:cNvSpPr txBox="1">
            <a:spLocks/>
          </p:cNvSpPr>
          <p:nvPr/>
        </p:nvSpPr>
        <p:spPr>
          <a:xfrm>
            <a:off x="3697034" y="5740528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</a:rPr>
              <a:t>Hyperparameter tuning using random search with cross validation</a:t>
            </a:r>
          </a:p>
        </p:txBody>
      </p:sp>
      <p:sp>
        <p:nvSpPr>
          <p:cNvPr id="88" name="コンテンツ プレースホルダー 2">
            <a:extLst>
              <a:ext uri="{FF2B5EF4-FFF2-40B4-BE49-F238E27FC236}">
                <a16:creationId xmlns:a16="http://schemas.microsoft.com/office/drawing/2014/main" id="{D7216B4F-B5B0-44BF-9D82-BBF64FF63F0B}"/>
              </a:ext>
            </a:extLst>
          </p:cNvPr>
          <p:cNvSpPr txBox="1">
            <a:spLocks/>
          </p:cNvSpPr>
          <p:nvPr/>
        </p:nvSpPr>
        <p:spPr>
          <a:xfrm>
            <a:off x="6941528" y="1093104"/>
            <a:ext cx="2070842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Ensemble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24FFC47B-4596-48E5-B378-C258F7F3F6F5}"/>
              </a:ext>
            </a:extLst>
          </p:cNvPr>
          <p:cNvSpPr/>
          <p:nvPr/>
        </p:nvSpPr>
        <p:spPr>
          <a:xfrm>
            <a:off x="6686491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109310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Final model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2" name="Isosceles Triangle 27">
            <a:extLst>
              <a:ext uri="{FF2B5EF4-FFF2-40B4-BE49-F238E27FC236}">
                <a16:creationId xmlns:a16="http://schemas.microsoft.com/office/drawing/2014/main" id="{A30F00B6-2047-46B5-8C31-DA71383E4AFB}"/>
              </a:ext>
            </a:extLst>
          </p:cNvPr>
          <p:cNvSpPr/>
          <p:nvPr/>
        </p:nvSpPr>
        <p:spPr>
          <a:xfrm rot="5400000">
            <a:off x="4246415" y="3566477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コンテンツ プレースホルダー 2">
            <a:extLst>
              <a:ext uri="{FF2B5EF4-FFF2-40B4-BE49-F238E27FC236}">
                <a16:creationId xmlns:a16="http://schemas.microsoft.com/office/drawing/2014/main" id="{BC050F31-83BE-4497-BCC2-141ACC39C51C}"/>
              </a:ext>
            </a:extLst>
          </p:cNvPr>
          <p:cNvSpPr txBox="1">
            <a:spLocks/>
          </p:cNvSpPr>
          <p:nvPr/>
        </p:nvSpPr>
        <p:spPr>
          <a:xfrm>
            <a:off x="6786070" y="1487891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Weight by </a:t>
            </a:r>
            <a:r>
              <a:rPr lang="en-US" altLang="ja-JP" sz="1100" b="1">
                <a:solidFill>
                  <a:schemeClr val="accent2"/>
                </a:solidFill>
                <a:latin typeface="+mj-lt"/>
              </a:rPr>
              <a:t>year of training data</a:t>
            </a:r>
            <a:endParaRPr lang="ja-JP" altLang="en-US" sz="11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5" name="コンテンツ プレースホルダー 2">
            <a:extLst>
              <a:ext uri="{FF2B5EF4-FFF2-40B4-BE49-F238E27FC236}">
                <a16:creationId xmlns:a16="http://schemas.microsoft.com/office/drawing/2014/main" id="{413F7D67-8AC4-47C7-B46A-A54DFC9F8972}"/>
              </a:ext>
            </a:extLst>
          </p:cNvPr>
          <p:cNvSpPr txBox="1">
            <a:spLocks/>
          </p:cNvSpPr>
          <p:nvPr/>
        </p:nvSpPr>
        <p:spPr>
          <a:xfrm>
            <a:off x="6823302" y="3978876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</a:rPr>
              <a:t>Weight by </a:t>
            </a:r>
            <a:r>
              <a:rPr lang="en-US" altLang="ja-JP" sz="1100" b="1">
                <a:solidFill>
                  <a:schemeClr val="accent2"/>
                </a:solidFill>
                <a:latin typeface="+mj-lt"/>
              </a:rPr>
              <a:t>model</a:t>
            </a:r>
            <a:endParaRPr lang="ja-JP" altLang="en-US" sz="110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B1282B5E-2425-41BD-999D-EF1F5F65EB8D}"/>
              </a:ext>
            </a:extLst>
          </p:cNvPr>
          <p:cNvGrpSpPr/>
          <p:nvPr/>
        </p:nvGrpSpPr>
        <p:grpSpPr>
          <a:xfrm>
            <a:off x="4941891" y="1748937"/>
            <a:ext cx="975646" cy="1023513"/>
            <a:chOff x="4916736" y="1778329"/>
            <a:chExt cx="975646" cy="1023513"/>
          </a:xfrm>
        </p:grpSpPr>
        <p:sp>
          <p:nvSpPr>
            <p:cNvPr id="97" name="四角形: 角を丸くする 96">
              <a:extLst>
                <a:ext uri="{FF2B5EF4-FFF2-40B4-BE49-F238E27FC236}">
                  <a16:creationId xmlns:a16="http://schemas.microsoft.com/office/drawing/2014/main" id="{1D8E2CBB-4147-4C36-862D-077CE0D51F46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98" name="四角形: 角を丸くする 97">
              <a:extLst>
                <a:ext uri="{FF2B5EF4-FFF2-40B4-BE49-F238E27FC236}">
                  <a16:creationId xmlns:a16="http://schemas.microsoft.com/office/drawing/2014/main" id="{448B4E81-7592-4A38-B99F-B8F004AE6DE1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99" name="四角形: 角を丸くする 98">
              <a:extLst>
                <a:ext uri="{FF2B5EF4-FFF2-40B4-BE49-F238E27FC236}">
                  <a16:creationId xmlns:a16="http://schemas.microsoft.com/office/drawing/2014/main" id="{D4C5153D-5841-4716-9C21-D5EAC7D0B3FF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100" name="四角形: 角を丸くする 99">
              <a:extLst>
                <a:ext uri="{FF2B5EF4-FFF2-40B4-BE49-F238E27FC236}">
                  <a16:creationId xmlns:a16="http://schemas.microsoft.com/office/drawing/2014/main" id="{9B0E0A31-F4AB-473D-8FF3-78FB42E0EB65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101" name="四角形: 角を丸くする 100">
              <a:extLst>
                <a:ext uri="{FF2B5EF4-FFF2-40B4-BE49-F238E27FC236}">
                  <a16:creationId xmlns:a16="http://schemas.microsoft.com/office/drawing/2014/main" id="{5C482F3E-E988-48E4-8160-A4115915DFE0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grpSp>
        <p:nvGrpSpPr>
          <p:cNvPr id="45" name="グループ化 44">
            <a:extLst>
              <a:ext uri="{FF2B5EF4-FFF2-40B4-BE49-F238E27FC236}">
                <a16:creationId xmlns:a16="http://schemas.microsoft.com/office/drawing/2014/main" id="{14CA7EC3-943F-43DC-9889-F76DB050DE3F}"/>
              </a:ext>
            </a:extLst>
          </p:cNvPr>
          <p:cNvGrpSpPr/>
          <p:nvPr/>
        </p:nvGrpSpPr>
        <p:grpSpPr>
          <a:xfrm>
            <a:off x="6904778" y="1814648"/>
            <a:ext cx="1080681" cy="1621110"/>
            <a:chOff x="4916736" y="1778329"/>
            <a:chExt cx="975646" cy="1023513"/>
          </a:xfrm>
        </p:grpSpPr>
        <p:sp>
          <p:nvSpPr>
            <p:cNvPr id="64" name="四角形: 角を丸くする 63">
              <a:extLst>
                <a:ext uri="{FF2B5EF4-FFF2-40B4-BE49-F238E27FC236}">
                  <a16:creationId xmlns:a16="http://schemas.microsoft.com/office/drawing/2014/main" id="{0D45A8C2-B519-4850-8179-FF9AA109F027}"/>
                </a:ext>
              </a:extLst>
            </p:cNvPr>
            <p:cNvSpPr/>
            <p:nvPr/>
          </p:nvSpPr>
          <p:spPr>
            <a:xfrm>
              <a:off x="4916736" y="1778329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5 / 2016</a:t>
              </a:r>
            </a:p>
          </p:txBody>
        </p:sp>
        <p:sp>
          <p:nvSpPr>
            <p:cNvPr id="67" name="四角形: 角を丸くする 66">
              <a:extLst>
                <a:ext uri="{FF2B5EF4-FFF2-40B4-BE49-F238E27FC236}">
                  <a16:creationId xmlns:a16="http://schemas.microsoft.com/office/drawing/2014/main" id="{DE3305CF-DAC0-4236-AF91-61ADDC311532}"/>
                </a:ext>
              </a:extLst>
            </p:cNvPr>
            <p:cNvSpPr/>
            <p:nvPr/>
          </p:nvSpPr>
          <p:spPr>
            <a:xfrm>
              <a:off x="4916736" y="1989268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6 / 2017</a:t>
              </a:r>
            </a:p>
          </p:txBody>
        </p:sp>
        <p:sp>
          <p:nvSpPr>
            <p:cNvPr id="68" name="四角形: 角を丸くする 67">
              <a:extLst>
                <a:ext uri="{FF2B5EF4-FFF2-40B4-BE49-F238E27FC236}">
                  <a16:creationId xmlns:a16="http://schemas.microsoft.com/office/drawing/2014/main" id="{9323CE5D-3953-489E-AD68-1991879DE4C7}"/>
                </a:ext>
              </a:extLst>
            </p:cNvPr>
            <p:cNvSpPr/>
            <p:nvPr/>
          </p:nvSpPr>
          <p:spPr>
            <a:xfrm>
              <a:off x="4916736" y="2204165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7 / 2018</a:t>
              </a:r>
            </a:p>
          </p:txBody>
        </p:sp>
        <p:sp>
          <p:nvSpPr>
            <p:cNvPr id="69" name="四角形: 角を丸くする 68">
              <a:extLst>
                <a:ext uri="{FF2B5EF4-FFF2-40B4-BE49-F238E27FC236}">
                  <a16:creationId xmlns:a16="http://schemas.microsoft.com/office/drawing/2014/main" id="{E839C2BD-DA1D-45AC-8504-FDF36555243E}"/>
                </a:ext>
              </a:extLst>
            </p:cNvPr>
            <p:cNvSpPr/>
            <p:nvPr/>
          </p:nvSpPr>
          <p:spPr>
            <a:xfrm>
              <a:off x="4916736" y="2423856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8 / 2019</a:t>
              </a:r>
            </a:p>
          </p:txBody>
        </p:sp>
        <p:sp>
          <p:nvSpPr>
            <p:cNvPr id="70" name="四角形: 角を丸くする 69">
              <a:extLst>
                <a:ext uri="{FF2B5EF4-FFF2-40B4-BE49-F238E27FC236}">
                  <a16:creationId xmlns:a16="http://schemas.microsoft.com/office/drawing/2014/main" id="{8A784972-BABD-4BD1-9483-83F0885E0F37}"/>
                </a:ext>
              </a:extLst>
            </p:cNvPr>
            <p:cNvSpPr/>
            <p:nvPr/>
          </p:nvSpPr>
          <p:spPr>
            <a:xfrm>
              <a:off x="4916736" y="2640624"/>
              <a:ext cx="975646" cy="16121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2019 / 2020</a:t>
              </a:r>
            </a:p>
          </p:txBody>
        </p:sp>
      </p:grp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98A4F11-65CF-4C11-A66E-01C2BE701DEA}"/>
              </a:ext>
            </a:extLst>
          </p:cNvPr>
          <p:cNvGrpSpPr/>
          <p:nvPr/>
        </p:nvGrpSpPr>
        <p:grpSpPr>
          <a:xfrm>
            <a:off x="6941528" y="4354558"/>
            <a:ext cx="1116684" cy="1324081"/>
            <a:chOff x="6966189" y="4246816"/>
            <a:chExt cx="1116684" cy="1324081"/>
          </a:xfrm>
        </p:grpSpPr>
        <p:sp>
          <p:nvSpPr>
            <p:cNvPr id="102" name="四角形: 角を丸くする 101">
              <a:extLst>
                <a:ext uri="{FF2B5EF4-FFF2-40B4-BE49-F238E27FC236}">
                  <a16:creationId xmlns:a16="http://schemas.microsoft.com/office/drawing/2014/main" id="{C0DF28B2-1E01-4933-9E25-6EC011D05586}"/>
                </a:ext>
              </a:extLst>
            </p:cNvPr>
            <p:cNvSpPr/>
            <p:nvPr/>
          </p:nvSpPr>
          <p:spPr>
            <a:xfrm>
              <a:off x="6966190" y="4246816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err="1">
                  <a:solidFill>
                    <a:schemeClr val="tx1"/>
                  </a:solidFill>
                </a:rPr>
                <a:t>XGBoost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03" name="四角形: 角を丸くする 102">
              <a:extLst>
                <a:ext uri="{FF2B5EF4-FFF2-40B4-BE49-F238E27FC236}">
                  <a16:creationId xmlns:a16="http://schemas.microsoft.com/office/drawing/2014/main" id="{68A33FCD-CA7C-4E84-B602-F3BC81600AA6}"/>
                </a:ext>
              </a:extLst>
            </p:cNvPr>
            <p:cNvSpPr/>
            <p:nvPr/>
          </p:nvSpPr>
          <p:spPr>
            <a:xfrm>
              <a:off x="6966189" y="4722889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Random Forest</a:t>
              </a:r>
            </a:p>
          </p:txBody>
        </p:sp>
        <p:sp>
          <p:nvSpPr>
            <p:cNvPr id="104" name="四角形: 角を丸くする 103">
              <a:extLst>
                <a:ext uri="{FF2B5EF4-FFF2-40B4-BE49-F238E27FC236}">
                  <a16:creationId xmlns:a16="http://schemas.microsoft.com/office/drawing/2014/main" id="{6BD23100-EE79-4682-A6EC-FDE0C8CC838D}"/>
                </a:ext>
              </a:extLst>
            </p:cNvPr>
            <p:cNvSpPr/>
            <p:nvPr/>
          </p:nvSpPr>
          <p:spPr>
            <a:xfrm>
              <a:off x="6966189" y="5197171"/>
              <a:ext cx="1116683" cy="373726"/>
            </a:xfrm>
            <a:prstGeom prst="roundRect">
              <a:avLst>
                <a:gd name="adj" fmla="val 9239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Elastic Net</a:t>
              </a:r>
            </a:p>
          </p:txBody>
        </p:sp>
      </p:grp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47E6BD76-35F9-4CA1-BD24-34D98CB191FA}"/>
              </a:ext>
            </a:extLst>
          </p:cNvPr>
          <p:cNvSpPr txBox="1"/>
          <p:nvPr/>
        </p:nvSpPr>
        <p:spPr>
          <a:xfrm>
            <a:off x="8053777" y="1815150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15</a:t>
            </a:r>
          </a:p>
        </p:txBody>
      </p:sp>
      <p:sp>
        <p:nvSpPr>
          <p:cNvPr id="107" name="テキスト ボックス 106">
            <a:extLst>
              <a:ext uri="{FF2B5EF4-FFF2-40B4-BE49-F238E27FC236}">
                <a16:creationId xmlns:a16="http://schemas.microsoft.com/office/drawing/2014/main" id="{B7A0D04F-E6E7-4402-B3F5-A9DB1F65869B}"/>
              </a:ext>
            </a:extLst>
          </p:cNvPr>
          <p:cNvSpPr txBox="1"/>
          <p:nvPr/>
        </p:nvSpPr>
        <p:spPr>
          <a:xfrm>
            <a:off x="8066972" y="2145617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15</a:t>
            </a:r>
          </a:p>
        </p:txBody>
      </p:sp>
      <p:sp>
        <p:nvSpPr>
          <p:cNvPr id="108" name="テキスト ボックス 107">
            <a:extLst>
              <a:ext uri="{FF2B5EF4-FFF2-40B4-BE49-F238E27FC236}">
                <a16:creationId xmlns:a16="http://schemas.microsoft.com/office/drawing/2014/main" id="{E20E70F4-F7A2-4A3F-A36F-560767CBD4CD}"/>
              </a:ext>
            </a:extLst>
          </p:cNvPr>
          <p:cNvSpPr txBox="1"/>
          <p:nvPr/>
        </p:nvSpPr>
        <p:spPr>
          <a:xfrm>
            <a:off x="8070259" y="2472170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20</a:t>
            </a:r>
          </a:p>
        </p:txBody>
      </p:sp>
      <p:sp>
        <p:nvSpPr>
          <p:cNvPr id="109" name="テキスト ボックス 108">
            <a:extLst>
              <a:ext uri="{FF2B5EF4-FFF2-40B4-BE49-F238E27FC236}">
                <a16:creationId xmlns:a16="http://schemas.microsoft.com/office/drawing/2014/main" id="{F5FF9D95-62F7-4154-B754-0B4918321F83}"/>
              </a:ext>
            </a:extLst>
          </p:cNvPr>
          <p:cNvSpPr txBox="1"/>
          <p:nvPr/>
        </p:nvSpPr>
        <p:spPr>
          <a:xfrm>
            <a:off x="8066972" y="2827359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20</a:t>
            </a:r>
          </a:p>
        </p:txBody>
      </p:sp>
      <p:sp>
        <p:nvSpPr>
          <p:cNvPr id="110" name="テキスト ボックス 109">
            <a:extLst>
              <a:ext uri="{FF2B5EF4-FFF2-40B4-BE49-F238E27FC236}">
                <a16:creationId xmlns:a16="http://schemas.microsoft.com/office/drawing/2014/main" id="{A35A3E30-91E2-461E-A4E0-2ABA79AAC9A5}"/>
              </a:ext>
            </a:extLst>
          </p:cNvPr>
          <p:cNvSpPr txBox="1"/>
          <p:nvPr/>
        </p:nvSpPr>
        <p:spPr>
          <a:xfrm>
            <a:off x="8066972" y="3177279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30</a:t>
            </a:r>
          </a:p>
        </p:txBody>
      </p: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2A2F134C-15D6-4B8F-BA40-715103E945FB}"/>
              </a:ext>
            </a:extLst>
          </p:cNvPr>
          <p:cNvSpPr txBox="1"/>
          <p:nvPr/>
        </p:nvSpPr>
        <p:spPr>
          <a:xfrm>
            <a:off x="8109694" y="4407045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30</a:t>
            </a:r>
          </a:p>
        </p:txBody>
      </p:sp>
      <p:sp>
        <p:nvSpPr>
          <p:cNvPr id="112" name="テキスト ボックス 111">
            <a:extLst>
              <a:ext uri="{FF2B5EF4-FFF2-40B4-BE49-F238E27FC236}">
                <a16:creationId xmlns:a16="http://schemas.microsoft.com/office/drawing/2014/main" id="{5547C13F-B6AE-4737-89B5-83D55FE88638}"/>
              </a:ext>
            </a:extLst>
          </p:cNvPr>
          <p:cNvSpPr txBox="1"/>
          <p:nvPr/>
        </p:nvSpPr>
        <p:spPr>
          <a:xfrm>
            <a:off x="8109694" y="4872748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40</a:t>
            </a:r>
          </a:p>
        </p:txBody>
      </p:sp>
      <p:sp>
        <p:nvSpPr>
          <p:cNvPr id="113" name="テキスト ボックス 112">
            <a:extLst>
              <a:ext uri="{FF2B5EF4-FFF2-40B4-BE49-F238E27FC236}">
                <a16:creationId xmlns:a16="http://schemas.microsoft.com/office/drawing/2014/main" id="{47258DD5-9385-4AF8-9C17-F5E4373390F9}"/>
              </a:ext>
            </a:extLst>
          </p:cNvPr>
          <p:cNvSpPr txBox="1"/>
          <p:nvPr/>
        </p:nvSpPr>
        <p:spPr>
          <a:xfrm>
            <a:off x="8109694" y="5360971"/>
            <a:ext cx="877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0.30</a:t>
            </a:r>
          </a:p>
        </p:txBody>
      </p:sp>
      <p:sp>
        <p:nvSpPr>
          <p:cNvPr id="105" name="テキスト ボックス 104">
            <a:extLst>
              <a:ext uri="{FF2B5EF4-FFF2-40B4-BE49-F238E27FC236}">
                <a16:creationId xmlns:a16="http://schemas.microsoft.com/office/drawing/2014/main" id="{C77AB881-33B0-45B8-A110-6FFC2586468F}"/>
              </a:ext>
            </a:extLst>
          </p:cNvPr>
          <p:cNvSpPr txBox="1"/>
          <p:nvPr/>
        </p:nvSpPr>
        <p:spPr>
          <a:xfrm>
            <a:off x="6865281" y="3481967"/>
            <a:ext cx="23279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/>
              <a:t>* Model trained on recent year had lower test MSE in general.</a:t>
            </a:r>
          </a:p>
        </p:txBody>
      </p:sp>
      <p:sp>
        <p:nvSpPr>
          <p:cNvPr id="115" name="テキスト ボックス 114">
            <a:extLst>
              <a:ext uri="{FF2B5EF4-FFF2-40B4-BE49-F238E27FC236}">
                <a16:creationId xmlns:a16="http://schemas.microsoft.com/office/drawing/2014/main" id="{2F160279-0717-4B08-B99D-72D7147AE38D}"/>
              </a:ext>
            </a:extLst>
          </p:cNvPr>
          <p:cNvSpPr txBox="1"/>
          <p:nvPr/>
        </p:nvSpPr>
        <p:spPr>
          <a:xfrm>
            <a:off x="6799948" y="5720858"/>
            <a:ext cx="232792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/>
              <a:t>* Result (better to worse): Random Forest &gt; Elastic Net &gt; </a:t>
            </a:r>
            <a:r>
              <a:rPr lang="en-US" sz="1050" err="1"/>
              <a:t>XGBoost</a:t>
            </a:r>
            <a:r>
              <a:rPr lang="en-US" sz="1050"/>
              <a:t> </a:t>
            </a:r>
          </a:p>
        </p:txBody>
      </p:sp>
      <p:cxnSp>
        <p:nvCxnSpPr>
          <p:cNvPr id="117" name="直線コネクタ 116">
            <a:extLst>
              <a:ext uri="{FF2B5EF4-FFF2-40B4-BE49-F238E27FC236}">
                <a16:creationId xmlns:a16="http://schemas.microsoft.com/office/drawing/2014/main" id="{680A1ED4-E8EE-4DC1-A413-60F432C8F678}"/>
              </a:ext>
            </a:extLst>
          </p:cNvPr>
          <p:cNvCxnSpPr>
            <a:cxnSpLocks/>
          </p:cNvCxnSpPr>
          <p:nvPr/>
        </p:nvCxnSpPr>
        <p:spPr>
          <a:xfrm>
            <a:off x="6831681" y="3912854"/>
            <a:ext cx="236990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Isosceles Triangle 27">
            <a:extLst>
              <a:ext uri="{FF2B5EF4-FFF2-40B4-BE49-F238E27FC236}">
                <a16:creationId xmlns:a16="http://schemas.microsoft.com/office/drawing/2014/main" id="{DB6D1DF5-8030-485E-A747-80D34784D123}"/>
              </a:ext>
            </a:extLst>
          </p:cNvPr>
          <p:cNvSpPr/>
          <p:nvPr/>
        </p:nvSpPr>
        <p:spPr>
          <a:xfrm rot="5400000">
            <a:off x="7334781" y="3557616"/>
            <a:ext cx="4409366" cy="307760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789151" y="2688980"/>
            <a:ext cx="2168838" cy="1995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コンテンツ プレースホルダー 2">
            <a:extLst>
              <a:ext uri="{FF2B5EF4-FFF2-40B4-BE49-F238E27FC236}">
                <a16:creationId xmlns:a16="http://schemas.microsoft.com/office/drawing/2014/main" id="{437A2383-5328-4EA5-968D-D76B17A2C3EA}"/>
              </a:ext>
            </a:extLst>
          </p:cNvPr>
          <p:cNvSpPr txBox="1">
            <a:spLocks/>
          </p:cNvSpPr>
          <p:nvPr/>
        </p:nvSpPr>
        <p:spPr>
          <a:xfrm>
            <a:off x="9829042" y="2790062"/>
            <a:ext cx="1988761" cy="17492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ja-JP" sz="1400">
                <a:latin typeface="+mj-lt"/>
              </a:rPr>
              <a:t>Ensemble of 15 models</a:t>
            </a:r>
          </a:p>
          <a:p>
            <a:pPr>
              <a:spcBef>
                <a:spcPts val="600"/>
              </a:spcBef>
            </a:pPr>
            <a:r>
              <a:rPr lang="en-US" altLang="ja-JP" sz="1400">
                <a:latin typeface="+mj-lt"/>
              </a:rPr>
              <a:t>Predict on 2020 dataset to predict </a:t>
            </a:r>
            <a:r>
              <a:rPr lang="en-US" altLang="ja-JP" sz="1400" err="1">
                <a:latin typeface="+mj-lt"/>
              </a:rPr>
              <a:t>skill_summary</a:t>
            </a:r>
            <a:r>
              <a:rPr lang="en-US" altLang="ja-JP" sz="1400">
                <a:latin typeface="+mj-lt"/>
              </a:rPr>
              <a:t> score in 2021</a:t>
            </a:r>
            <a:endParaRPr lang="ja-JP" altLang="en-US" sz="1400">
              <a:latin typeface="+mj-lt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30A3822-EB84-45BA-A243-97191560F11B}"/>
              </a:ext>
            </a:extLst>
          </p:cNvPr>
          <p:cNvGrpSpPr/>
          <p:nvPr/>
        </p:nvGrpSpPr>
        <p:grpSpPr>
          <a:xfrm>
            <a:off x="735951" y="2161057"/>
            <a:ext cx="2205062" cy="1569988"/>
            <a:chOff x="729190" y="2314163"/>
            <a:chExt cx="2205062" cy="1569988"/>
          </a:xfrm>
        </p:grpSpPr>
        <p:sp>
          <p:nvSpPr>
            <p:cNvPr id="2" name="四角形: 角を丸くする 1">
              <a:extLst>
                <a:ext uri="{FF2B5EF4-FFF2-40B4-BE49-F238E27FC236}">
                  <a16:creationId xmlns:a16="http://schemas.microsoft.com/office/drawing/2014/main" id="{5A7E9D16-67DF-4A3A-B1CF-0BEC05BA6CCA}"/>
                </a:ext>
              </a:extLst>
            </p:cNvPr>
            <p:cNvSpPr/>
            <p:nvPr/>
          </p:nvSpPr>
          <p:spPr>
            <a:xfrm>
              <a:off x="729190" y="2361280"/>
              <a:ext cx="2178383" cy="1428492"/>
            </a:xfrm>
            <a:prstGeom prst="roundRect">
              <a:avLst>
                <a:gd name="adj" fmla="val 4832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grpSp>
          <p:nvGrpSpPr>
            <p:cNvPr id="20" name="グループ化 19">
              <a:extLst>
                <a:ext uri="{FF2B5EF4-FFF2-40B4-BE49-F238E27FC236}">
                  <a16:creationId xmlns:a16="http://schemas.microsoft.com/office/drawing/2014/main" id="{0F920116-1AD9-4FF1-AABA-0B9E70921ADB}"/>
                </a:ext>
              </a:extLst>
            </p:cNvPr>
            <p:cNvGrpSpPr/>
            <p:nvPr/>
          </p:nvGrpSpPr>
          <p:grpSpPr>
            <a:xfrm>
              <a:off x="837262" y="2504096"/>
              <a:ext cx="1095043" cy="1182102"/>
              <a:chOff x="1064393" y="1856462"/>
              <a:chExt cx="1600898" cy="1391382"/>
            </a:xfrm>
          </p:grpSpPr>
          <p:sp>
            <p:nvSpPr>
              <p:cNvPr id="18" name="四角形: 角を丸くする 17">
                <a:extLst>
                  <a:ext uri="{FF2B5EF4-FFF2-40B4-BE49-F238E27FC236}">
                    <a16:creationId xmlns:a16="http://schemas.microsoft.com/office/drawing/2014/main" id="{637489A0-2E6F-4954-B9E7-43F7F30B60DF}"/>
                  </a:ext>
                </a:extLst>
              </p:cNvPr>
              <p:cNvSpPr/>
              <p:nvPr/>
            </p:nvSpPr>
            <p:spPr>
              <a:xfrm>
                <a:off x="1064393" y="1856462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dribbling</a:t>
                </a:r>
              </a:p>
            </p:txBody>
          </p:sp>
          <p:sp>
            <p:nvSpPr>
              <p:cNvPr id="40" name="四角形: 角を丸くする 39">
                <a:extLst>
                  <a:ext uri="{FF2B5EF4-FFF2-40B4-BE49-F238E27FC236}">
                    <a16:creationId xmlns:a16="http://schemas.microsoft.com/office/drawing/2014/main" id="{1471476D-57EA-4FAC-A540-8310A657EA39}"/>
                  </a:ext>
                </a:extLst>
              </p:cNvPr>
              <p:cNvSpPr/>
              <p:nvPr/>
            </p:nvSpPr>
            <p:spPr>
              <a:xfrm>
                <a:off x="1064393" y="2144851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curve</a:t>
                </a:r>
              </a:p>
            </p:txBody>
          </p:sp>
          <p:sp>
            <p:nvSpPr>
              <p:cNvPr id="41" name="四角形: 角を丸くする 40">
                <a:extLst>
                  <a:ext uri="{FF2B5EF4-FFF2-40B4-BE49-F238E27FC236}">
                    <a16:creationId xmlns:a16="http://schemas.microsoft.com/office/drawing/2014/main" id="{2E3853B9-5149-4D8C-AE85-8D15BD79F2C2}"/>
                  </a:ext>
                </a:extLst>
              </p:cNvPr>
              <p:cNvSpPr/>
              <p:nvPr/>
            </p:nvSpPr>
            <p:spPr>
              <a:xfrm>
                <a:off x="1064393" y="2433240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>
                    <a:solidFill>
                      <a:schemeClr val="tx1"/>
                    </a:solidFill>
                  </a:rPr>
                  <a:t>free-kick accuracy</a:t>
                </a:r>
              </a:p>
            </p:txBody>
          </p:sp>
          <p:sp>
            <p:nvSpPr>
              <p:cNvPr id="42" name="四角形: 角を丸くする 41">
                <a:extLst>
                  <a:ext uri="{FF2B5EF4-FFF2-40B4-BE49-F238E27FC236}">
                    <a16:creationId xmlns:a16="http://schemas.microsoft.com/office/drawing/2014/main" id="{952A29CC-E3F4-44A9-84DA-BAD4077583D4}"/>
                  </a:ext>
                </a:extLst>
              </p:cNvPr>
              <p:cNvSpPr/>
              <p:nvPr/>
            </p:nvSpPr>
            <p:spPr>
              <a:xfrm>
                <a:off x="1064393" y="2721629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long passing</a:t>
                </a:r>
              </a:p>
            </p:txBody>
          </p:sp>
          <p:sp>
            <p:nvSpPr>
              <p:cNvPr id="43" name="四角形: 角を丸くする 42">
                <a:extLst>
                  <a:ext uri="{FF2B5EF4-FFF2-40B4-BE49-F238E27FC236}">
                    <a16:creationId xmlns:a16="http://schemas.microsoft.com/office/drawing/2014/main" id="{1323DFB1-7FB8-4025-92E2-FF5C602C7479}"/>
                  </a:ext>
                </a:extLst>
              </p:cNvPr>
              <p:cNvSpPr/>
              <p:nvPr/>
            </p:nvSpPr>
            <p:spPr>
              <a:xfrm>
                <a:off x="1064393" y="3010018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>
                    <a:solidFill>
                      <a:schemeClr val="tx1"/>
                    </a:solidFill>
                  </a:rPr>
                  <a:t>ball control</a:t>
                </a:r>
              </a:p>
            </p:txBody>
          </p:sp>
        </p:grpSp>
        <p:cxnSp>
          <p:nvCxnSpPr>
            <p:cNvPr id="11" name="直線コネクタ 10">
              <a:extLst>
                <a:ext uri="{FF2B5EF4-FFF2-40B4-BE49-F238E27FC236}">
                  <a16:creationId xmlns:a16="http://schemas.microsoft.com/office/drawing/2014/main" id="{021A9ACA-0383-416E-A665-3A51CC62E338}"/>
                </a:ext>
              </a:extLst>
            </p:cNvPr>
            <p:cNvCxnSpPr>
              <a:cxnSpLocks/>
            </p:cNvCxnSpPr>
            <p:nvPr/>
          </p:nvCxnSpPr>
          <p:spPr>
            <a:xfrm>
              <a:off x="1932305" y="2504096"/>
              <a:ext cx="308791" cy="38871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直線コネクタ 121">
              <a:extLst>
                <a:ext uri="{FF2B5EF4-FFF2-40B4-BE49-F238E27FC236}">
                  <a16:creationId xmlns:a16="http://schemas.microsoft.com/office/drawing/2014/main" id="{BAAC29C1-93FF-4432-AA84-209D459455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36653" y="3296143"/>
              <a:ext cx="335827" cy="39787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楕円 15">
              <a:extLst>
                <a:ext uri="{FF2B5EF4-FFF2-40B4-BE49-F238E27FC236}">
                  <a16:creationId xmlns:a16="http://schemas.microsoft.com/office/drawing/2014/main" id="{5616B82C-99DA-41C4-86E1-A42363885388}"/>
                </a:ext>
              </a:extLst>
            </p:cNvPr>
            <p:cNvSpPr/>
            <p:nvPr/>
          </p:nvSpPr>
          <p:spPr>
            <a:xfrm>
              <a:off x="2021236" y="2811886"/>
              <a:ext cx="822655" cy="55361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テキスト ボックス 2">
              <a:extLst>
                <a:ext uri="{FF2B5EF4-FFF2-40B4-BE49-F238E27FC236}">
                  <a16:creationId xmlns:a16="http://schemas.microsoft.com/office/drawing/2014/main" id="{774F9CE3-3C81-41F4-A698-D4B591FABDFB}"/>
                </a:ext>
              </a:extLst>
            </p:cNvPr>
            <p:cNvSpPr txBox="1"/>
            <p:nvPr/>
          </p:nvSpPr>
          <p:spPr>
            <a:xfrm>
              <a:off x="1932305" y="2857861"/>
              <a:ext cx="1001947" cy="425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en-US" sz="1100" b="1"/>
                <a:t>skill</a:t>
              </a:r>
            </a:p>
            <a:p>
              <a:pPr algn="ctr">
                <a:lnSpc>
                  <a:spcPts val="1300"/>
                </a:lnSpc>
              </a:pPr>
              <a:r>
                <a:rPr lang="en-US" sz="1100" b="1"/>
                <a:t>summary</a:t>
              </a:r>
            </a:p>
          </p:txBody>
        </p: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5DA902A6-742A-4868-8A71-9D52B1FE4D40}"/>
                </a:ext>
              </a:extLst>
            </p:cNvPr>
            <p:cNvSpPr txBox="1"/>
            <p:nvPr/>
          </p:nvSpPr>
          <p:spPr>
            <a:xfrm rot="3031566">
              <a:off x="1840215" y="2556354"/>
              <a:ext cx="68443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/>
                <a:t>Average</a:t>
              </a:r>
            </a:p>
          </p:txBody>
        </p:sp>
        <p:sp>
          <p:nvSpPr>
            <p:cNvPr id="123" name="テキスト ボックス 122">
              <a:extLst>
                <a:ext uri="{FF2B5EF4-FFF2-40B4-BE49-F238E27FC236}">
                  <a16:creationId xmlns:a16="http://schemas.microsoft.com/office/drawing/2014/main" id="{60676DDB-CDCE-48AF-AA3A-11E302C04D4F}"/>
                </a:ext>
              </a:extLst>
            </p:cNvPr>
            <p:cNvSpPr txBox="1"/>
            <p:nvPr/>
          </p:nvSpPr>
          <p:spPr>
            <a:xfrm rot="18511551">
              <a:off x="1836856" y="3441905"/>
              <a:ext cx="68443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/>
                <a:t>Aver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532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4C6390E-31B0-4A38-AEFE-D782930FC3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4C6390E-31B0-4A38-AEFE-D782930FC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B212F7C-30B9-4F08-AAEE-311D753CEE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A54F17-DE45-47DE-874F-DD769258DCE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261" r="7538" b="-2"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  <a:noFill/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CE03B2C-3058-4002-896A-BD958086905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DEE8BF7C-21D2-4806-AB29-2CCA2E7A0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543" y="1147714"/>
            <a:ext cx="4890272" cy="703803"/>
          </a:xfrm>
        </p:spPr>
        <p:txBody>
          <a:bodyPr anchor="b">
            <a:normAutofit/>
          </a:bodyPr>
          <a:lstStyle/>
          <a:p>
            <a:r>
              <a:rPr lang="en-US" sz="3200"/>
              <a:t>Agenda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F40226FB-7070-42AB-88C9-0B960F8A48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8543" y="2696066"/>
            <a:ext cx="5251578" cy="35998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Overview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A – Rank  the Player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B – Classify Player Positi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C – Which Club has the Best Staff?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art D – How Things will be in 2021?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en-US" sz="2000" dirty="0"/>
              <a:t>Possible Future Improvemen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endParaRPr lang="en-US" sz="2000" dirty="0"/>
          </a:p>
        </p:txBody>
      </p:sp>
      <p:sp>
        <p:nvSpPr>
          <p:cNvPr id="4" name="スライド番号プレースホルダー 3" hidden="1">
            <a:extLst>
              <a:ext uri="{FF2B5EF4-FFF2-40B4-BE49-F238E27FC236}">
                <a16:creationId xmlns:a16="http://schemas.microsoft.com/office/drawing/2014/main" id="{7D086040-5D36-4EF1-823E-22770C0A1AB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2838" y="6289675"/>
            <a:ext cx="919162" cy="222250"/>
          </a:xfrm>
        </p:spPr>
        <p:txBody>
          <a:bodyPr/>
          <a:lstStyle/>
          <a:p>
            <a:pPr rtl="0">
              <a:spcAft>
                <a:spcPts val="600"/>
              </a:spcAft>
            </a:pPr>
            <a:fld id="{E31375A4-56A4-47D6-9801-1991572033F7}" type="slidenum">
              <a:rPr lang="en-US" altLang="ja-JP" noProof="0" smtClean="0"/>
              <a:pPr rtl="0">
                <a:spcAft>
                  <a:spcPts val="600"/>
                </a:spcAft>
              </a:pPr>
              <a:t>2</a:t>
            </a:fld>
            <a:endParaRPr lang="ja-JP" altLang="en-US" noProof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20B6C5-8C2D-47DE-A2E9-A8C3EF88E86D}"/>
              </a:ext>
            </a:extLst>
          </p:cNvPr>
          <p:cNvCxnSpPr>
            <a:cxnSpLocks/>
          </p:cNvCxnSpPr>
          <p:nvPr/>
        </p:nvCxnSpPr>
        <p:spPr>
          <a:xfrm>
            <a:off x="618543" y="2158737"/>
            <a:ext cx="4809662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96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dirty="0" smtClean="0"/>
              <a:t>20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The model result (test MSE score)</a:t>
            </a: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0357D73C-11CB-4327-A9C9-C358D61FDBA7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77F5AC9-FA4C-4A33-A784-BF097FF3D4EE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29" name="Rectangle: Rounded Corners 8">
              <a:extLst>
                <a:ext uri="{FF2B5EF4-FFF2-40B4-BE49-F238E27FC236}">
                  <a16:creationId xmlns:a16="http://schemas.microsoft.com/office/drawing/2014/main" id="{9B2352D4-67EF-4E64-AB40-640F837C6E3F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33" name="Rectangle: Rounded Corners 8">
              <a:extLst>
                <a:ext uri="{FF2B5EF4-FFF2-40B4-BE49-F238E27FC236}">
                  <a16:creationId xmlns:a16="http://schemas.microsoft.com/office/drawing/2014/main" id="{6A920CC9-3FAA-4C72-AAA8-18A66133A51D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34" name="Rectangle: Rounded Corners 8">
              <a:extLst>
                <a:ext uri="{FF2B5EF4-FFF2-40B4-BE49-F238E27FC236}">
                  <a16:creationId xmlns:a16="http://schemas.microsoft.com/office/drawing/2014/main" id="{DBF1D541-BE8F-4CBE-BFC8-BC3924B27C7B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D675D980-AD0A-47CA-8AE9-BAB8480B0DE2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graphicFrame>
        <p:nvGraphicFramePr>
          <p:cNvPr id="2" name="表 2">
            <a:extLst>
              <a:ext uri="{FF2B5EF4-FFF2-40B4-BE49-F238E27FC236}">
                <a16:creationId xmlns:a16="http://schemas.microsoft.com/office/drawing/2014/main" id="{35688385-5A49-4516-8DE8-F60974D143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91883"/>
              </p:ext>
            </p:extLst>
          </p:nvPr>
        </p:nvGraphicFramePr>
        <p:xfrm>
          <a:off x="942068" y="1628775"/>
          <a:ext cx="10640334" cy="408785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880195">
                  <a:extLst>
                    <a:ext uri="{9D8B030D-6E8A-4147-A177-3AD203B41FA5}">
                      <a16:colId xmlns:a16="http://schemas.microsoft.com/office/drawing/2014/main" val="883825836"/>
                    </a:ext>
                  </a:extLst>
                </a:gridCol>
                <a:gridCol w="1666583">
                  <a:extLst>
                    <a:ext uri="{9D8B030D-6E8A-4147-A177-3AD203B41FA5}">
                      <a16:colId xmlns:a16="http://schemas.microsoft.com/office/drawing/2014/main" val="1093659729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4071676842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1295868049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1347206176"/>
                    </a:ext>
                  </a:extLst>
                </a:gridCol>
                <a:gridCol w="1773389">
                  <a:extLst>
                    <a:ext uri="{9D8B030D-6E8A-4147-A177-3AD203B41FA5}">
                      <a16:colId xmlns:a16="http://schemas.microsoft.com/office/drawing/2014/main" val="1930222758"/>
                    </a:ext>
                  </a:extLst>
                </a:gridCol>
              </a:tblGrid>
              <a:tr h="621284">
                <a:tc>
                  <a:txBody>
                    <a:bodyPr/>
                    <a:lstStyle/>
                    <a:p>
                      <a:pPr algn="ctr"/>
                      <a:r>
                        <a:rPr lang="en-US" sz="1100" b="1"/>
                        <a:t>Test MSE</a:t>
                      </a:r>
                    </a:p>
                    <a:p>
                      <a:pPr algn="ctr"/>
                      <a:endParaRPr lang="en-US" sz="1100" b="1"/>
                    </a:p>
                    <a:p>
                      <a:pPr algn="ctr"/>
                      <a:endParaRPr lang="en-US" sz="11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5 / 2016</a:t>
                      </a:r>
                    </a:p>
                    <a:p>
                      <a:pPr algn="ctr"/>
                      <a:r>
                        <a:rPr lang="en-US" sz="1200" b="0"/>
                        <a:t>(year weight: 0.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6 / 2017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7 / 201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2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8 / 20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2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019 / 2020*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year weight: 0.30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058723"/>
                  </a:ext>
                </a:extLst>
              </a:tr>
              <a:tr h="1155522"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XGBoost</a:t>
                      </a:r>
                      <a:endParaRPr lang="en-US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model weight: 0.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.15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33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25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07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.15</a:t>
                      </a:r>
                    </a:p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32555"/>
                  </a:ext>
                </a:extLst>
              </a:tr>
              <a:tr h="1155522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Random Fores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model weight: 0.4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.58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27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24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12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.76</a:t>
                      </a:r>
                    </a:p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983076"/>
                  </a:ext>
                </a:extLst>
              </a:tr>
              <a:tr h="1155522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astic Ne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(model weight: 0.3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.90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05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02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.94</a:t>
                      </a:r>
                    </a:p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.81</a:t>
                      </a:r>
                    </a:p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356948"/>
                  </a:ext>
                </a:extLst>
              </a:tr>
            </a:tbl>
          </a:graphicData>
        </a:graphic>
      </p:graphicFrame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BA88F4A1-D1EA-4BB3-BEF7-C19666C514F6}"/>
              </a:ext>
            </a:extLst>
          </p:cNvPr>
          <p:cNvSpPr txBox="1"/>
          <p:nvPr/>
        </p:nvSpPr>
        <p:spPr>
          <a:xfrm>
            <a:off x="710293" y="997404"/>
            <a:ext cx="10180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Test dataset: </a:t>
            </a:r>
            <a:r>
              <a:rPr lang="en-US" sz="1600" err="1"/>
              <a:t>skill_summary</a:t>
            </a:r>
            <a:r>
              <a:rPr lang="en-US" sz="1600"/>
              <a:t> score in 2020 predicted by data in 2019</a:t>
            </a:r>
          </a:p>
          <a:p>
            <a:r>
              <a:rPr lang="en-US" sz="1600"/>
              <a:t>Above number in each cell is test MSE score, the number below is its weight in the entire 15 models (%)</a:t>
            </a:r>
          </a:p>
        </p:txBody>
      </p:sp>
      <p:sp>
        <p:nvSpPr>
          <p:cNvPr id="106" name="テキスト ボックス 105">
            <a:extLst>
              <a:ext uri="{FF2B5EF4-FFF2-40B4-BE49-F238E27FC236}">
                <a16:creationId xmlns:a16="http://schemas.microsoft.com/office/drawing/2014/main" id="{6611B5F1-DACD-4BEB-B573-FB763F52EF43}"/>
              </a:ext>
            </a:extLst>
          </p:cNvPr>
          <p:cNvSpPr txBox="1"/>
          <p:nvPr/>
        </p:nvSpPr>
        <p:spPr>
          <a:xfrm>
            <a:off x="759278" y="5757159"/>
            <a:ext cx="108231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/>
              <a:t>* Because 2019 / 2020 model is trained on the same data as test dataset, this is for reference only</a:t>
            </a:r>
          </a:p>
        </p:txBody>
      </p:sp>
      <p:sp>
        <p:nvSpPr>
          <p:cNvPr id="114" name="四角形: 角を丸くする 113">
            <a:extLst>
              <a:ext uri="{FF2B5EF4-FFF2-40B4-BE49-F238E27FC236}">
                <a16:creationId xmlns:a16="http://schemas.microsoft.com/office/drawing/2014/main" id="{61BA0CB8-5A54-4818-A649-4629B4CFDF53}"/>
              </a:ext>
            </a:extLst>
          </p:cNvPr>
          <p:cNvSpPr/>
          <p:nvPr/>
        </p:nvSpPr>
        <p:spPr>
          <a:xfrm>
            <a:off x="3270748" y="2916686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16" name="四角形: 角を丸くする 115">
            <a:extLst>
              <a:ext uri="{FF2B5EF4-FFF2-40B4-BE49-F238E27FC236}">
                <a16:creationId xmlns:a16="http://schemas.microsoft.com/office/drawing/2014/main" id="{027BB08F-16CC-41DF-9B93-489E76EDFFA2}"/>
              </a:ext>
            </a:extLst>
          </p:cNvPr>
          <p:cNvSpPr/>
          <p:nvPr/>
        </p:nvSpPr>
        <p:spPr>
          <a:xfrm>
            <a:off x="4957752" y="2915163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18" name="四角形: 角を丸くする 117">
            <a:extLst>
              <a:ext uri="{FF2B5EF4-FFF2-40B4-BE49-F238E27FC236}">
                <a16:creationId xmlns:a16="http://schemas.microsoft.com/office/drawing/2014/main" id="{A34DCAC0-9654-419B-877A-B67B1D3A1911}"/>
              </a:ext>
            </a:extLst>
          </p:cNvPr>
          <p:cNvSpPr/>
          <p:nvPr/>
        </p:nvSpPr>
        <p:spPr>
          <a:xfrm>
            <a:off x="6778670" y="2915163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19" name="四角形: 角を丸くする 118">
            <a:extLst>
              <a:ext uri="{FF2B5EF4-FFF2-40B4-BE49-F238E27FC236}">
                <a16:creationId xmlns:a16="http://schemas.microsoft.com/office/drawing/2014/main" id="{8F0E5D87-765A-42A8-BFE0-7BF2E9EEC118}"/>
              </a:ext>
            </a:extLst>
          </p:cNvPr>
          <p:cNvSpPr/>
          <p:nvPr/>
        </p:nvSpPr>
        <p:spPr>
          <a:xfrm>
            <a:off x="8548234" y="2915163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22" name="四角形: 角を丸くする 121">
            <a:extLst>
              <a:ext uri="{FF2B5EF4-FFF2-40B4-BE49-F238E27FC236}">
                <a16:creationId xmlns:a16="http://schemas.microsoft.com/office/drawing/2014/main" id="{D5485B06-88BD-41A4-8C03-6079FD4CD269}"/>
              </a:ext>
            </a:extLst>
          </p:cNvPr>
          <p:cNvSpPr/>
          <p:nvPr/>
        </p:nvSpPr>
        <p:spPr>
          <a:xfrm>
            <a:off x="10317798" y="2892167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9.0%</a:t>
            </a:r>
          </a:p>
        </p:txBody>
      </p:sp>
      <p:sp>
        <p:nvSpPr>
          <p:cNvPr id="123" name="四角形: 角を丸くする 122">
            <a:extLst>
              <a:ext uri="{FF2B5EF4-FFF2-40B4-BE49-F238E27FC236}">
                <a16:creationId xmlns:a16="http://schemas.microsoft.com/office/drawing/2014/main" id="{280497EC-025D-48B3-A4F9-A258B164BD79}"/>
              </a:ext>
            </a:extLst>
          </p:cNvPr>
          <p:cNvSpPr/>
          <p:nvPr/>
        </p:nvSpPr>
        <p:spPr>
          <a:xfrm>
            <a:off x="3270748" y="4062804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0%</a:t>
            </a:r>
          </a:p>
        </p:txBody>
      </p:sp>
      <p:sp>
        <p:nvSpPr>
          <p:cNvPr id="125" name="四角形: 角を丸くする 124">
            <a:extLst>
              <a:ext uri="{FF2B5EF4-FFF2-40B4-BE49-F238E27FC236}">
                <a16:creationId xmlns:a16="http://schemas.microsoft.com/office/drawing/2014/main" id="{7E54B60E-AA79-4104-9067-E97B4DEC743E}"/>
              </a:ext>
            </a:extLst>
          </p:cNvPr>
          <p:cNvSpPr/>
          <p:nvPr/>
        </p:nvSpPr>
        <p:spPr>
          <a:xfrm>
            <a:off x="4957752" y="4062804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0%</a:t>
            </a:r>
          </a:p>
        </p:txBody>
      </p:sp>
      <p:sp>
        <p:nvSpPr>
          <p:cNvPr id="126" name="四角形: 角を丸くする 125">
            <a:extLst>
              <a:ext uri="{FF2B5EF4-FFF2-40B4-BE49-F238E27FC236}">
                <a16:creationId xmlns:a16="http://schemas.microsoft.com/office/drawing/2014/main" id="{FC71C9D4-47B6-4DC4-9458-E69FB8C926C9}"/>
              </a:ext>
            </a:extLst>
          </p:cNvPr>
          <p:cNvSpPr/>
          <p:nvPr/>
        </p:nvSpPr>
        <p:spPr>
          <a:xfrm>
            <a:off x="6778670" y="4062804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8.00%</a:t>
            </a:r>
          </a:p>
        </p:txBody>
      </p:sp>
      <p:sp>
        <p:nvSpPr>
          <p:cNvPr id="127" name="四角形: 角を丸くする 126">
            <a:extLst>
              <a:ext uri="{FF2B5EF4-FFF2-40B4-BE49-F238E27FC236}">
                <a16:creationId xmlns:a16="http://schemas.microsoft.com/office/drawing/2014/main" id="{0D816E86-FC4E-462B-929D-9187A4402007}"/>
              </a:ext>
            </a:extLst>
          </p:cNvPr>
          <p:cNvSpPr/>
          <p:nvPr/>
        </p:nvSpPr>
        <p:spPr>
          <a:xfrm>
            <a:off x="8548234" y="4062804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8.00%</a:t>
            </a:r>
          </a:p>
        </p:txBody>
      </p:sp>
      <p:sp>
        <p:nvSpPr>
          <p:cNvPr id="128" name="四角形: 角を丸くする 127">
            <a:extLst>
              <a:ext uri="{FF2B5EF4-FFF2-40B4-BE49-F238E27FC236}">
                <a16:creationId xmlns:a16="http://schemas.microsoft.com/office/drawing/2014/main" id="{647A8098-A986-4272-ADCB-C2B1FF1B360A}"/>
              </a:ext>
            </a:extLst>
          </p:cNvPr>
          <p:cNvSpPr/>
          <p:nvPr/>
        </p:nvSpPr>
        <p:spPr>
          <a:xfrm>
            <a:off x="10317798" y="4062804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12.0%</a:t>
            </a:r>
          </a:p>
        </p:txBody>
      </p:sp>
      <p:sp>
        <p:nvSpPr>
          <p:cNvPr id="129" name="四角形: 角を丸くする 128">
            <a:extLst>
              <a:ext uri="{FF2B5EF4-FFF2-40B4-BE49-F238E27FC236}">
                <a16:creationId xmlns:a16="http://schemas.microsoft.com/office/drawing/2014/main" id="{92B38C06-C7EF-4C23-962A-BA9723161368}"/>
              </a:ext>
            </a:extLst>
          </p:cNvPr>
          <p:cNvSpPr/>
          <p:nvPr/>
        </p:nvSpPr>
        <p:spPr>
          <a:xfrm>
            <a:off x="3263900" y="5208922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30" name="四角形: 角を丸くする 129">
            <a:extLst>
              <a:ext uri="{FF2B5EF4-FFF2-40B4-BE49-F238E27FC236}">
                <a16:creationId xmlns:a16="http://schemas.microsoft.com/office/drawing/2014/main" id="{01C81C44-20D3-4136-8F78-F08D02F45DB2}"/>
              </a:ext>
            </a:extLst>
          </p:cNvPr>
          <p:cNvSpPr/>
          <p:nvPr/>
        </p:nvSpPr>
        <p:spPr>
          <a:xfrm>
            <a:off x="4957752" y="5230901"/>
            <a:ext cx="746036" cy="255348"/>
          </a:xfrm>
          <a:prstGeom prst="roundRect">
            <a:avLst/>
          </a:prstGeom>
          <a:solidFill>
            <a:srgbClr val="FFFFCC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.5%</a:t>
            </a:r>
          </a:p>
        </p:txBody>
      </p:sp>
      <p:sp>
        <p:nvSpPr>
          <p:cNvPr id="131" name="四角形: 角を丸くする 130">
            <a:extLst>
              <a:ext uri="{FF2B5EF4-FFF2-40B4-BE49-F238E27FC236}">
                <a16:creationId xmlns:a16="http://schemas.microsoft.com/office/drawing/2014/main" id="{572F1B5D-62B1-481A-BD5B-885DCE6D4FFD}"/>
              </a:ext>
            </a:extLst>
          </p:cNvPr>
          <p:cNvSpPr/>
          <p:nvPr/>
        </p:nvSpPr>
        <p:spPr>
          <a:xfrm>
            <a:off x="6776471" y="5229225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32" name="四角形: 角を丸くする 131">
            <a:extLst>
              <a:ext uri="{FF2B5EF4-FFF2-40B4-BE49-F238E27FC236}">
                <a16:creationId xmlns:a16="http://schemas.microsoft.com/office/drawing/2014/main" id="{BB30776B-845F-4ECE-B5BF-7245A36A0852}"/>
              </a:ext>
            </a:extLst>
          </p:cNvPr>
          <p:cNvSpPr/>
          <p:nvPr/>
        </p:nvSpPr>
        <p:spPr>
          <a:xfrm>
            <a:off x="8550117" y="5229225"/>
            <a:ext cx="746036" cy="255348"/>
          </a:xfrm>
          <a:prstGeom prst="roundRect">
            <a:avLst/>
          </a:prstGeom>
          <a:solidFill>
            <a:srgbClr val="FFCC99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6.0%</a:t>
            </a:r>
          </a:p>
        </p:txBody>
      </p:sp>
      <p:sp>
        <p:nvSpPr>
          <p:cNvPr id="133" name="四角形: 角を丸くする 132">
            <a:extLst>
              <a:ext uri="{FF2B5EF4-FFF2-40B4-BE49-F238E27FC236}">
                <a16:creationId xmlns:a16="http://schemas.microsoft.com/office/drawing/2014/main" id="{131C5FD5-0D2B-4011-83EB-DC05E6111295}"/>
              </a:ext>
            </a:extLst>
          </p:cNvPr>
          <p:cNvSpPr/>
          <p:nvPr/>
        </p:nvSpPr>
        <p:spPr>
          <a:xfrm>
            <a:off x="10317798" y="5238682"/>
            <a:ext cx="746036" cy="255348"/>
          </a:xfrm>
          <a:prstGeom prst="roundRect">
            <a:avLst/>
          </a:prstGeom>
          <a:solidFill>
            <a:srgbClr val="FF7C80"/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9.0%</a:t>
            </a:r>
          </a:p>
        </p:txBody>
      </p:sp>
      <p:sp>
        <p:nvSpPr>
          <p:cNvPr id="134" name="四角形: 角を丸くする 133">
            <a:extLst>
              <a:ext uri="{FF2B5EF4-FFF2-40B4-BE49-F238E27FC236}">
                <a16:creationId xmlns:a16="http://schemas.microsoft.com/office/drawing/2014/main" id="{3F30F381-2338-4BAC-9C77-29EDB432394E}"/>
              </a:ext>
            </a:extLst>
          </p:cNvPr>
          <p:cNvSpPr/>
          <p:nvPr/>
        </p:nvSpPr>
        <p:spPr>
          <a:xfrm>
            <a:off x="1196068" y="1891353"/>
            <a:ext cx="1379764" cy="3158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Weight in final ensemble model</a:t>
            </a:r>
          </a:p>
        </p:txBody>
      </p:sp>
    </p:spTree>
    <p:extLst>
      <p:ext uri="{BB962C8B-B14F-4D97-AF65-F5344CB8AC3E}">
        <p14:creationId xmlns:p14="http://schemas.microsoft.com/office/powerpoint/2010/main" val="322350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dirty="0" smtClean="0"/>
              <a:t>21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The model result (examples)</a:t>
            </a: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0357D73C-11CB-4327-A9C9-C358D61FDBA7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77F5AC9-FA4C-4A33-A784-BF097FF3D4EE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29" name="Rectangle: Rounded Corners 8">
              <a:extLst>
                <a:ext uri="{FF2B5EF4-FFF2-40B4-BE49-F238E27FC236}">
                  <a16:creationId xmlns:a16="http://schemas.microsoft.com/office/drawing/2014/main" id="{9B2352D4-67EF-4E64-AB40-640F837C6E3F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33" name="Rectangle: Rounded Corners 8">
              <a:extLst>
                <a:ext uri="{FF2B5EF4-FFF2-40B4-BE49-F238E27FC236}">
                  <a16:creationId xmlns:a16="http://schemas.microsoft.com/office/drawing/2014/main" id="{6A920CC9-3FAA-4C72-AAA8-18A66133A51D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34" name="Rectangle: Rounded Corners 8">
              <a:extLst>
                <a:ext uri="{FF2B5EF4-FFF2-40B4-BE49-F238E27FC236}">
                  <a16:creationId xmlns:a16="http://schemas.microsoft.com/office/drawing/2014/main" id="{DBF1D541-BE8F-4CBE-BFC8-BC3924B27C7B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35" name="Rectangle: Rounded Corners 8">
              <a:extLst>
                <a:ext uri="{FF2B5EF4-FFF2-40B4-BE49-F238E27FC236}">
                  <a16:creationId xmlns:a16="http://schemas.microsoft.com/office/drawing/2014/main" id="{D675D980-AD0A-47CA-8AE9-BAB8480B0DE2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BA88F4A1-D1EA-4BB3-BEF7-C19666C514F6}"/>
              </a:ext>
            </a:extLst>
          </p:cNvPr>
          <p:cNvSpPr txBox="1"/>
          <p:nvPr/>
        </p:nvSpPr>
        <p:spPr>
          <a:xfrm>
            <a:off x="723900" y="1105119"/>
            <a:ext cx="10180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We applied the ensemble model to make prediction for </a:t>
            </a:r>
            <a:r>
              <a:rPr lang="en-US" sz="1600" err="1"/>
              <a:t>skill_summary</a:t>
            </a:r>
            <a:r>
              <a:rPr lang="en-US" sz="1600"/>
              <a:t> of specified players in the past years and compared them with actual result.</a:t>
            </a: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7A42F1E5-92C7-497F-BE16-B2C2DFCF25D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-1" b="1363"/>
          <a:stretch/>
        </p:blipFill>
        <p:spPr>
          <a:xfrm>
            <a:off x="515710" y="2436192"/>
            <a:ext cx="3691492" cy="2926897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C852284C-4041-4D75-87A5-DD709F5890E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728"/>
          <a:stretch/>
        </p:blipFill>
        <p:spPr>
          <a:xfrm>
            <a:off x="4278594" y="2509671"/>
            <a:ext cx="3659203" cy="2886075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6DA33176-FE6F-4AD0-83A0-598271A65A8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366"/>
          <a:stretch/>
        </p:blipFill>
        <p:spPr>
          <a:xfrm>
            <a:off x="7921780" y="2509671"/>
            <a:ext cx="3567042" cy="2886075"/>
          </a:xfrm>
          <a:prstGeom prst="rect">
            <a:avLst/>
          </a:prstGeom>
        </p:spPr>
      </p:pic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15766F18-5BDE-4ACC-A77E-8B12ADC2EA56}"/>
              </a:ext>
            </a:extLst>
          </p:cNvPr>
          <p:cNvSpPr txBox="1">
            <a:spLocks/>
          </p:cNvSpPr>
          <p:nvPr/>
        </p:nvSpPr>
        <p:spPr>
          <a:xfrm>
            <a:off x="1579378" y="2104628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Cristiano Ronaldo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7" name="コンテンツ プレースホルダー 2">
            <a:extLst>
              <a:ext uri="{FF2B5EF4-FFF2-40B4-BE49-F238E27FC236}">
                <a16:creationId xmlns:a16="http://schemas.microsoft.com/office/drawing/2014/main" id="{56EA873B-C4EB-498B-BD57-63E96BEB4EAF}"/>
              </a:ext>
            </a:extLst>
          </p:cNvPr>
          <p:cNvSpPr txBox="1">
            <a:spLocks/>
          </p:cNvSpPr>
          <p:nvPr/>
        </p:nvSpPr>
        <p:spPr>
          <a:xfrm>
            <a:off x="5332228" y="2110295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Kevin De Bruyne</a:t>
            </a:r>
            <a:endParaRPr lang="ja-JP" altLang="en-US" sz="1400" b="1" u="sng">
              <a:solidFill>
                <a:schemeClr val="accent2"/>
              </a:solidFill>
              <a:latin typeface="+mj-lt"/>
              <a:ea typeface="Meiryo UI"/>
            </a:endParaRPr>
          </a:p>
        </p:txBody>
      </p:sp>
      <p:sp>
        <p:nvSpPr>
          <p:cNvPr id="38" name="コンテンツ プレースホルダー 2">
            <a:extLst>
              <a:ext uri="{FF2B5EF4-FFF2-40B4-BE49-F238E27FC236}">
                <a16:creationId xmlns:a16="http://schemas.microsoft.com/office/drawing/2014/main" id="{61DDABCC-BA05-4B92-BD04-17BA24E41FEE}"/>
              </a:ext>
            </a:extLst>
          </p:cNvPr>
          <p:cNvSpPr txBox="1">
            <a:spLocks/>
          </p:cNvSpPr>
          <p:nvPr/>
        </p:nvSpPr>
        <p:spPr>
          <a:xfrm>
            <a:off x="8942203" y="216909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Diego </a:t>
            </a:r>
            <a:r>
              <a:rPr lang="en-US" altLang="ja-JP" sz="1400" b="1" u="sng" err="1">
                <a:solidFill>
                  <a:schemeClr val="accent2"/>
                </a:solidFill>
                <a:latin typeface="+mj-lt"/>
                <a:ea typeface="Meiryo UI"/>
              </a:rPr>
              <a:t>Godín</a:t>
            </a:r>
            <a:endParaRPr lang="ja-JP" altLang="en-US" sz="1400" b="1" u="sng" err="1">
              <a:solidFill>
                <a:schemeClr val="accent2"/>
              </a:solidFill>
              <a:latin typeface="+mj-lt"/>
              <a:ea typeface="Meiryo UI"/>
            </a:endParaRPr>
          </a:p>
        </p:txBody>
      </p:sp>
    </p:spTree>
    <p:extLst>
      <p:ext uri="{BB962C8B-B14F-4D97-AF65-F5344CB8AC3E}">
        <p14:creationId xmlns:p14="http://schemas.microsoft.com/office/powerpoint/2010/main" val="157601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6. Possible Future Improvements</a:t>
            </a:r>
            <a:endParaRPr lang="en-US" altLang="ja-JP" dirty="0"/>
          </a:p>
        </p:txBody>
      </p:sp>
      <p:sp>
        <p:nvSpPr>
          <p:cNvPr id="7" name="スライド番号プレースホルダー 3">
            <a:extLst>
              <a:ext uri="{FF2B5EF4-FFF2-40B4-BE49-F238E27FC236}">
                <a16:creationId xmlns:a16="http://schemas.microsoft.com/office/drawing/2014/main" id="{DE2DF252-8972-4114-97DA-F9D67E77E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22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17468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77930-9255-4CE5-9DD0-D679D7DE4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Meiryo UI"/>
                <a:cs typeface="Arial"/>
              </a:rPr>
              <a:t>Possible Future Improvements</a:t>
            </a:r>
            <a:endParaRPr lang="en-US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B757D8B-D0A3-436A-A5C5-AA9246182D97}"/>
              </a:ext>
            </a:extLst>
          </p:cNvPr>
          <p:cNvCxnSpPr/>
          <p:nvPr/>
        </p:nvCxnSpPr>
        <p:spPr>
          <a:xfrm flipV="1">
            <a:off x="611874" y="1561531"/>
            <a:ext cx="10963700" cy="11373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9BD966D-A05E-41B9-A538-EBA4E2BD9A4A}"/>
              </a:ext>
            </a:extLst>
          </p:cNvPr>
          <p:cNvSpPr txBox="1">
            <a:spLocks/>
          </p:cNvSpPr>
          <p:nvPr/>
        </p:nvSpPr>
        <p:spPr>
          <a:xfrm>
            <a:off x="6093723" y="1566401"/>
            <a:ext cx="5536442" cy="43791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Could neural networks further improve predictions? </a:t>
            </a:r>
            <a:endParaRPr lang="en-US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14595B1-889B-4B7D-B23C-10CBC20A0E09}"/>
              </a:ext>
            </a:extLst>
          </p:cNvPr>
          <p:cNvSpPr txBox="1">
            <a:spLocks/>
          </p:cNvSpPr>
          <p:nvPr/>
        </p:nvSpPr>
        <p:spPr>
          <a:xfrm>
            <a:off x="520887" y="1566400"/>
            <a:ext cx="5559188" cy="43791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Do we agree with our client on definitions and methodological choices?</a:t>
            </a:r>
            <a:endParaRPr lang="en-US" sz="3600" dirty="0">
              <a:solidFill>
                <a:schemeClr val="accent2">
                  <a:lumMod val="75000"/>
                </a:schemeClr>
              </a:solidFill>
              <a:cs typeface="Arial"/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64E365AE-B7DE-4A46-854D-1400D527E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23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92432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1. Overview</a:t>
            </a:r>
            <a:endParaRPr lang="ja-JP" altLang="en-US" sz="3600" dirty="0">
              <a:ea typeface="Meiryo UI"/>
            </a:endParaRPr>
          </a:p>
        </p:txBody>
      </p:sp>
      <p:sp>
        <p:nvSpPr>
          <p:cNvPr id="7" name="スライド番号プレースホルダー 3">
            <a:extLst>
              <a:ext uri="{FF2B5EF4-FFF2-40B4-BE49-F238E27FC236}">
                <a16:creationId xmlns:a16="http://schemas.microsoft.com/office/drawing/2014/main" id="{84596DC6-F350-400F-BC47-75980D63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3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394834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77930-9255-4CE5-9DD0-D679D7DE4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dirty="0">
                <a:ea typeface="Meiryo UI"/>
                <a:cs typeface="Arial"/>
              </a:rPr>
              <a:t>Data and Selected EDA Results </a:t>
            </a:r>
            <a:endParaRPr kumimoji="1" lang="en-US" dirty="0"/>
          </a:p>
        </p:txBody>
      </p:sp>
      <p:sp useBgFill="1">
        <p:nvSpPr>
          <p:cNvPr id="3" name="Content Placeholder 2">
            <a:extLst>
              <a:ext uri="{FF2B5EF4-FFF2-40B4-BE49-F238E27FC236}">
                <a16:creationId xmlns:a16="http://schemas.microsoft.com/office/drawing/2014/main" id="{8111356A-F780-4404-B75E-0094378213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7523" y="1502710"/>
            <a:ext cx="1106312" cy="1774707"/>
          </a:xfrm>
        </p:spPr>
        <p:txBody>
          <a:bodyPr vert="horz" lIns="91440" tIns="45720" rIns="91440" bIns="45720" rtlCol="0" anchor="ctr" anchorCtr="0">
            <a:normAutofit/>
          </a:bodyPr>
          <a:lstStyle/>
          <a:p>
            <a:pPr marL="0" indent="0" algn="ctr"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Merge</a:t>
            </a:r>
            <a:endParaRPr lang="en-US" sz="1800" dirty="0">
              <a:solidFill>
                <a:schemeClr val="accent2">
                  <a:lumMod val="75000"/>
                </a:schemeClr>
              </a:solidFill>
              <a:cs typeface="Arial"/>
            </a:endParaRPr>
          </a:p>
        </p:txBody>
      </p:sp>
      <p:sp>
        <p:nvSpPr>
          <p:cNvPr id="5" name="コンテンツ プレースホルダー 2">
            <a:extLst>
              <a:ext uri="{FF2B5EF4-FFF2-40B4-BE49-F238E27FC236}">
                <a16:creationId xmlns:a16="http://schemas.microsoft.com/office/drawing/2014/main" id="{FAFABBCB-8579-463A-8921-0F58F6E0F263}"/>
              </a:ext>
            </a:extLst>
          </p:cNvPr>
          <p:cNvSpPr txBox="1">
            <a:spLocks/>
          </p:cNvSpPr>
          <p:nvPr/>
        </p:nvSpPr>
        <p:spPr>
          <a:xfrm>
            <a:off x="618700" y="3759713"/>
            <a:ext cx="3648500" cy="338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A good overall score? 75 and up</a:t>
            </a:r>
            <a:endParaRPr lang="en-US" altLang="ja-JP" sz="1400" b="1" u="sng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9" name="Rectangle: Folded Corner 8">
            <a:extLst>
              <a:ext uri="{FF2B5EF4-FFF2-40B4-BE49-F238E27FC236}">
                <a16:creationId xmlns:a16="http://schemas.microsoft.com/office/drawing/2014/main" id="{D7A0E59C-09D8-4DC8-AB1E-565D3E2E568C}"/>
              </a:ext>
            </a:extLst>
          </p:cNvPr>
          <p:cNvSpPr/>
          <p:nvPr/>
        </p:nvSpPr>
        <p:spPr>
          <a:xfrm>
            <a:off x="970832" y="1983287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10" name="Rectangle: Folded Corner 9">
            <a:extLst>
              <a:ext uri="{FF2B5EF4-FFF2-40B4-BE49-F238E27FC236}">
                <a16:creationId xmlns:a16="http://schemas.microsoft.com/office/drawing/2014/main" id="{6C898C12-DA1D-4B37-8E6D-BFF5BD397F8F}"/>
              </a:ext>
            </a:extLst>
          </p:cNvPr>
          <p:cNvSpPr/>
          <p:nvPr/>
        </p:nvSpPr>
        <p:spPr>
          <a:xfrm>
            <a:off x="9721957" y="1510321"/>
            <a:ext cx="1857731" cy="1774207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 dirty="0">
                <a:cs typeface="Arial"/>
              </a:rPr>
              <a:t>Pre-processed data</a:t>
            </a:r>
          </a:p>
          <a:p>
            <a:pPr algn="ctr"/>
            <a:endParaRPr lang="en-US" b="1" dirty="0">
              <a:cs typeface="Arial"/>
            </a:endParaRPr>
          </a:p>
          <a:p>
            <a:pPr algn="ctr"/>
            <a:r>
              <a:rPr lang="en-US" dirty="0">
                <a:cs typeface="Arial"/>
              </a:rPr>
              <a:t>1 dataset</a:t>
            </a:r>
          </a:p>
          <a:p>
            <a:pPr algn="ctr"/>
            <a:r>
              <a:rPr lang="en-US" dirty="0">
                <a:cs typeface="Arial"/>
              </a:rPr>
              <a:t>100,995 x 146</a:t>
            </a:r>
            <a:endParaRPr lang="en-US" dirty="0"/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0A5FE668-1BDF-460A-9E2B-9495A4D10BDB}"/>
              </a:ext>
            </a:extLst>
          </p:cNvPr>
          <p:cNvSpPr/>
          <p:nvPr/>
        </p:nvSpPr>
        <p:spPr>
          <a:xfrm rot="5400000">
            <a:off x="1922344" y="2265363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B4EED06B-0973-47C7-AEAE-D6AF6D3AA42C}"/>
              </a:ext>
            </a:extLst>
          </p:cNvPr>
          <p:cNvSpPr/>
          <p:nvPr/>
        </p:nvSpPr>
        <p:spPr>
          <a:xfrm rot="5400000">
            <a:off x="3202265" y="2265362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719B2617-C994-4806-AEFF-F7BB42D35350}"/>
              </a:ext>
            </a:extLst>
          </p:cNvPr>
          <p:cNvSpPr/>
          <p:nvPr/>
        </p:nvSpPr>
        <p:spPr>
          <a:xfrm rot="5400000">
            <a:off x="4699906" y="2265363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C36AA495-879D-4EB8-8ACF-E47C63A56435}"/>
              </a:ext>
            </a:extLst>
          </p:cNvPr>
          <p:cNvSpPr/>
          <p:nvPr/>
        </p:nvSpPr>
        <p:spPr>
          <a:xfrm rot="5400000">
            <a:off x="6088687" y="2322228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3FD2FEC3-A71A-4FD8-B41A-5DCD7750B349}"/>
              </a:ext>
            </a:extLst>
          </p:cNvPr>
          <p:cNvSpPr txBox="1">
            <a:spLocks/>
          </p:cNvSpPr>
          <p:nvPr/>
        </p:nvSpPr>
        <p:spPr>
          <a:xfrm>
            <a:off x="609600" y="1153584"/>
            <a:ext cx="10965974" cy="300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600" b="1" u="sng" dirty="0">
                <a:solidFill>
                  <a:schemeClr val="accent2"/>
                </a:solidFill>
                <a:latin typeface="+mj-lt"/>
              </a:rPr>
              <a:t>Data pre-processing</a:t>
            </a:r>
            <a:endParaRPr lang="ja-JP" altLang="en-US" sz="1600" b="1" u="sng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0" name="Rectangle: Folded Corner 39">
            <a:extLst>
              <a:ext uri="{FF2B5EF4-FFF2-40B4-BE49-F238E27FC236}">
                <a16:creationId xmlns:a16="http://schemas.microsoft.com/office/drawing/2014/main" id="{A667A85F-19BC-4589-8DC7-A8C4D1B788F6}"/>
              </a:ext>
            </a:extLst>
          </p:cNvPr>
          <p:cNvSpPr/>
          <p:nvPr/>
        </p:nvSpPr>
        <p:spPr>
          <a:xfrm>
            <a:off x="882138" y="1884807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41" name="Rectangle: Folded Corner 40">
            <a:extLst>
              <a:ext uri="{FF2B5EF4-FFF2-40B4-BE49-F238E27FC236}">
                <a16:creationId xmlns:a16="http://schemas.microsoft.com/office/drawing/2014/main" id="{44F53C63-DD0F-4DEB-9ABB-D38C745A6B41}"/>
              </a:ext>
            </a:extLst>
          </p:cNvPr>
          <p:cNvSpPr/>
          <p:nvPr/>
        </p:nvSpPr>
        <p:spPr>
          <a:xfrm>
            <a:off x="793445" y="1764556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42" name="Rectangle: Folded Corner 41">
            <a:extLst>
              <a:ext uri="{FF2B5EF4-FFF2-40B4-BE49-F238E27FC236}">
                <a16:creationId xmlns:a16="http://schemas.microsoft.com/office/drawing/2014/main" id="{D0A7F1B3-D845-43BD-B170-E1B800E4725B}"/>
              </a:ext>
            </a:extLst>
          </p:cNvPr>
          <p:cNvSpPr/>
          <p:nvPr/>
        </p:nvSpPr>
        <p:spPr>
          <a:xfrm>
            <a:off x="704752" y="1644305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sp>
        <p:nvSpPr>
          <p:cNvPr id="43" name="Rectangle: Folded Corner 42">
            <a:extLst>
              <a:ext uri="{FF2B5EF4-FFF2-40B4-BE49-F238E27FC236}">
                <a16:creationId xmlns:a16="http://schemas.microsoft.com/office/drawing/2014/main" id="{A016141D-9180-4008-9BB6-A331DCDB09D2}"/>
              </a:ext>
            </a:extLst>
          </p:cNvPr>
          <p:cNvSpPr/>
          <p:nvPr/>
        </p:nvSpPr>
        <p:spPr>
          <a:xfrm>
            <a:off x="616059" y="1524053"/>
            <a:ext cx="1128339" cy="15687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cs typeface="Arial"/>
              </a:rPr>
              <a:t>Raw</a:t>
            </a:r>
          </a:p>
          <a:p>
            <a:pPr algn="ctr"/>
            <a:r>
              <a:rPr lang="en-US" b="1" dirty="0">
                <a:cs typeface="Arial"/>
              </a:rPr>
              <a:t>Data</a:t>
            </a:r>
          </a:p>
          <a:p>
            <a:pPr algn="ctr"/>
            <a:r>
              <a:rPr lang="en-US" dirty="0">
                <a:cs typeface="Arial"/>
              </a:rPr>
              <a:t>5 files</a:t>
            </a:r>
          </a:p>
          <a:p>
            <a:pPr algn="ctr"/>
            <a:r>
              <a:rPr lang="en-US" dirty="0">
                <a:cs typeface="Arial"/>
              </a:rPr>
              <a:t>104 variables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2D95219-86A2-4CD1-A073-FBBCA6A7F4D0}"/>
              </a:ext>
            </a:extLst>
          </p:cNvPr>
          <p:cNvCxnSpPr/>
          <p:nvPr/>
        </p:nvCxnSpPr>
        <p:spPr>
          <a:xfrm flipV="1">
            <a:off x="609600" y="1466072"/>
            <a:ext cx="10963700" cy="11373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F61BDF1-AE82-4C95-A45C-160B9A825991}"/>
              </a:ext>
            </a:extLst>
          </p:cNvPr>
          <p:cNvCxnSpPr>
            <a:cxnSpLocks/>
          </p:cNvCxnSpPr>
          <p:nvPr/>
        </p:nvCxnSpPr>
        <p:spPr>
          <a:xfrm>
            <a:off x="616059" y="4091215"/>
            <a:ext cx="3626826" cy="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46" name="Content Placeholder 2">
            <a:extLst>
              <a:ext uri="{FF2B5EF4-FFF2-40B4-BE49-F238E27FC236}">
                <a16:creationId xmlns:a16="http://schemas.microsoft.com/office/drawing/2014/main" id="{D8F84BD9-BD10-486A-8739-F62EC6FF45D9}"/>
              </a:ext>
            </a:extLst>
          </p:cNvPr>
          <p:cNvSpPr txBox="1">
            <a:spLocks/>
          </p:cNvSpPr>
          <p:nvPr/>
        </p:nvSpPr>
        <p:spPr>
          <a:xfrm>
            <a:off x="3932224" y="1502710"/>
            <a:ext cx="1106312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One-hot</a:t>
            </a:r>
            <a:b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</a:b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encode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04C173F8-F74E-42C6-ADC3-C892598FFEEB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9" b="6793"/>
          <a:stretch/>
        </p:blipFill>
        <p:spPr>
          <a:xfrm>
            <a:off x="616059" y="4124929"/>
            <a:ext cx="3537585" cy="1981958"/>
          </a:xfrm>
          <a:prstGeom prst="rect">
            <a:avLst/>
          </a:prstGeom>
        </p:spPr>
      </p:pic>
      <p:sp useBgFill="1">
        <p:nvSpPr>
          <p:cNvPr id="47" name="Content Placeholder 2">
            <a:extLst>
              <a:ext uri="{FF2B5EF4-FFF2-40B4-BE49-F238E27FC236}">
                <a16:creationId xmlns:a16="http://schemas.microsoft.com/office/drawing/2014/main" id="{C326B641-ED43-46FC-A7C7-DC4729A920D7}"/>
              </a:ext>
            </a:extLst>
          </p:cNvPr>
          <p:cNvSpPr txBox="1">
            <a:spLocks/>
          </p:cNvSpPr>
          <p:nvPr/>
        </p:nvSpPr>
        <p:spPr>
          <a:xfrm>
            <a:off x="5361944" y="1502710"/>
            <a:ext cx="1106312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Simplify</a:t>
            </a:r>
            <a:b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</a:b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&amp;</a:t>
            </a:r>
            <a:b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</a:b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clean</a:t>
            </a:r>
          </a:p>
        </p:txBody>
      </p:sp>
      <p:sp useBgFill="1">
        <p:nvSpPr>
          <p:cNvPr id="48" name="Content Placeholder 2">
            <a:extLst>
              <a:ext uri="{FF2B5EF4-FFF2-40B4-BE49-F238E27FC236}">
                <a16:creationId xmlns:a16="http://schemas.microsoft.com/office/drawing/2014/main" id="{FEE47BE2-E6D5-4916-8C30-C0F82245D2E2}"/>
              </a:ext>
            </a:extLst>
          </p:cNvPr>
          <p:cNvSpPr txBox="1">
            <a:spLocks/>
          </p:cNvSpPr>
          <p:nvPr/>
        </p:nvSpPr>
        <p:spPr>
          <a:xfrm>
            <a:off x="6755850" y="1502710"/>
            <a:ext cx="1106312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Impute</a:t>
            </a:r>
          </a:p>
        </p:txBody>
      </p:sp>
      <p:sp useBgFill="1">
        <p:nvSpPr>
          <p:cNvPr id="49" name="Content Placeholder 2">
            <a:extLst>
              <a:ext uri="{FF2B5EF4-FFF2-40B4-BE49-F238E27FC236}">
                <a16:creationId xmlns:a16="http://schemas.microsoft.com/office/drawing/2014/main" id="{F9B27756-F715-4C7B-852E-22EF6CDF48A7}"/>
              </a:ext>
            </a:extLst>
          </p:cNvPr>
          <p:cNvSpPr txBox="1">
            <a:spLocks/>
          </p:cNvSpPr>
          <p:nvPr/>
        </p:nvSpPr>
        <p:spPr>
          <a:xfrm>
            <a:off x="8027329" y="1502710"/>
            <a:ext cx="1416737" cy="177470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j-lt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  <a:ea typeface="Meiryo UI"/>
                <a:cs typeface="Arial"/>
              </a:rPr>
              <a:t>Standardize</a:t>
            </a:r>
          </a:p>
        </p:txBody>
      </p:sp>
      <p:sp>
        <p:nvSpPr>
          <p:cNvPr id="50" name="Isosceles Triangle 49">
            <a:extLst>
              <a:ext uri="{FF2B5EF4-FFF2-40B4-BE49-F238E27FC236}">
                <a16:creationId xmlns:a16="http://schemas.microsoft.com/office/drawing/2014/main" id="{27A06E80-B2C7-4623-AB8C-0B80ABE2CEA8}"/>
              </a:ext>
            </a:extLst>
          </p:cNvPr>
          <p:cNvSpPr/>
          <p:nvPr/>
        </p:nvSpPr>
        <p:spPr>
          <a:xfrm rot="5400000">
            <a:off x="8991091" y="2265363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3F5075C0-5C1B-49D2-85E8-A8E67532BE77}"/>
              </a:ext>
            </a:extLst>
          </p:cNvPr>
          <p:cNvSpPr/>
          <p:nvPr/>
        </p:nvSpPr>
        <p:spPr>
          <a:xfrm rot="5400000">
            <a:off x="7423039" y="2265362"/>
            <a:ext cx="1057701" cy="2388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コンテンツ プレースホルダー 2">
            <a:extLst>
              <a:ext uri="{FF2B5EF4-FFF2-40B4-BE49-F238E27FC236}">
                <a16:creationId xmlns:a16="http://schemas.microsoft.com/office/drawing/2014/main" id="{6D9E59C3-F188-4C76-86F8-59FA7F25563B}"/>
              </a:ext>
            </a:extLst>
          </p:cNvPr>
          <p:cNvSpPr txBox="1">
            <a:spLocks/>
          </p:cNvSpPr>
          <p:nvPr/>
        </p:nvSpPr>
        <p:spPr>
          <a:xfrm>
            <a:off x="4427975" y="3759713"/>
            <a:ext cx="3648500" cy="338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Old players decline… but not always</a:t>
            </a:r>
            <a:endParaRPr lang="en-US" altLang="ja-JP" sz="1400" b="1" u="sng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64" name="コンテンツ プレースホルダー 2">
            <a:extLst>
              <a:ext uri="{FF2B5EF4-FFF2-40B4-BE49-F238E27FC236}">
                <a16:creationId xmlns:a16="http://schemas.microsoft.com/office/drawing/2014/main" id="{26B1B5F2-EB80-4FEE-8808-49225C36F076}"/>
              </a:ext>
            </a:extLst>
          </p:cNvPr>
          <p:cNvSpPr txBox="1">
            <a:spLocks/>
          </p:cNvSpPr>
          <p:nvPr/>
        </p:nvSpPr>
        <p:spPr>
          <a:xfrm>
            <a:off x="7931188" y="3759713"/>
            <a:ext cx="3648500" cy="338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u="sng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International reputation is a guarantee</a:t>
            </a:r>
            <a:endParaRPr lang="en-US" altLang="ja-JP" sz="1400" b="1" u="sng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695CE0FF-7902-4D3C-A1BE-CC7CF9B37378}"/>
              </a:ext>
            </a:extLst>
          </p:cNvPr>
          <p:cNvCxnSpPr>
            <a:cxnSpLocks/>
          </p:cNvCxnSpPr>
          <p:nvPr/>
        </p:nvCxnSpPr>
        <p:spPr>
          <a:xfrm>
            <a:off x="4284946" y="4091215"/>
            <a:ext cx="3626826" cy="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7185F2E6-94E0-4461-97A2-B92A84339F1A}"/>
              </a:ext>
            </a:extLst>
          </p:cNvPr>
          <p:cNvCxnSpPr>
            <a:cxnSpLocks/>
          </p:cNvCxnSpPr>
          <p:nvPr/>
        </p:nvCxnSpPr>
        <p:spPr>
          <a:xfrm>
            <a:off x="7953834" y="4091215"/>
            <a:ext cx="3626826" cy="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67">
            <a:extLst>
              <a:ext uri="{FF2B5EF4-FFF2-40B4-BE49-F238E27FC236}">
                <a16:creationId xmlns:a16="http://schemas.microsoft.com/office/drawing/2014/main" id="{1CB018CE-69F6-42B4-92C1-6701CE9EF937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685" y="4141183"/>
            <a:ext cx="3053080" cy="194945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471CAD3B-64D1-4838-AE9F-BEB0E4C77FCE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5371" y="4119892"/>
            <a:ext cx="2685143" cy="1992512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C1ADD3F-A306-46CC-A49B-E3FD040F4AD9}"/>
              </a:ext>
            </a:extLst>
          </p:cNvPr>
          <p:cNvCxnSpPr>
            <a:cxnSpLocks/>
          </p:cNvCxnSpPr>
          <p:nvPr/>
        </p:nvCxnSpPr>
        <p:spPr>
          <a:xfrm>
            <a:off x="2898276" y="4223657"/>
            <a:ext cx="0" cy="17858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コンテンツ プレースホルダー 2">
            <a:extLst>
              <a:ext uri="{FF2B5EF4-FFF2-40B4-BE49-F238E27FC236}">
                <a16:creationId xmlns:a16="http://schemas.microsoft.com/office/drawing/2014/main" id="{85A33652-B5E5-40EF-9E74-7E92E5D37617}"/>
              </a:ext>
            </a:extLst>
          </p:cNvPr>
          <p:cNvSpPr txBox="1">
            <a:spLocks/>
          </p:cNvSpPr>
          <p:nvPr/>
        </p:nvSpPr>
        <p:spPr>
          <a:xfrm>
            <a:off x="2723795" y="4229625"/>
            <a:ext cx="607230" cy="2839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400" b="1" dirty="0">
                <a:solidFill>
                  <a:schemeClr val="accent2"/>
                </a:solidFill>
                <a:latin typeface="Arial"/>
                <a:ea typeface="Meiryo UI"/>
                <a:cs typeface="Arial"/>
              </a:rPr>
              <a:t>75</a:t>
            </a:r>
            <a:endParaRPr lang="en-US" altLang="ja-JP" sz="1400" b="1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4" name="スライド番号プレースホルダー 3">
            <a:extLst>
              <a:ext uri="{FF2B5EF4-FFF2-40B4-BE49-F238E27FC236}">
                <a16:creationId xmlns:a16="http://schemas.microsoft.com/office/drawing/2014/main" id="{1E8EBAC9-F2CE-4824-89B7-0F116651D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98557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4</a:t>
            </a:fld>
            <a:endParaRPr lang="ja-JP" altLang="en-US" noProof="0"/>
          </a:p>
        </p:txBody>
      </p:sp>
      <p:grpSp>
        <p:nvGrpSpPr>
          <p:cNvPr id="35" name="グループ化 92">
            <a:extLst>
              <a:ext uri="{FF2B5EF4-FFF2-40B4-BE49-F238E27FC236}">
                <a16:creationId xmlns:a16="http://schemas.microsoft.com/office/drawing/2014/main" id="{7D9AE6FD-72FF-4909-B847-5245CA9882C4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37" name="Rectangle: Rounded Corners 8">
              <a:extLst>
                <a:ext uri="{FF2B5EF4-FFF2-40B4-BE49-F238E27FC236}">
                  <a16:creationId xmlns:a16="http://schemas.microsoft.com/office/drawing/2014/main" id="{5FB60232-8967-476B-ADE0-62F8B3A55819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verview</a:t>
              </a:r>
            </a:p>
          </p:txBody>
        </p:sp>
        <p:sp>
          <p:nvSpPr>
            <p:cNvPr id="38" name="Rectangle: Rounded Corners 8">
              <a:extLst>
                <a:ext uri="{FF2B5EF4-FFF2-40B4-BE49-F238E27FC236}">
                  <a16:creationId xmlns:a16="http://schemas.microsoft.com/office/drawing/2014/main" id="{E85BCE85-D9A9-487B-9D76-32A148A0B722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art A</a:t>
              </a:r>
            </a:p>
          </p:txBody>
        </p:sp>
        <p:sp>
          <p:nvSpPr>
            <p:cNvPr id="39" name="Rectangle: Rounded Corners 8">
              <a:extLst>
                <a:ext uri="{FF2B5EF4-FFF2-40B4-BE49-F238E27FC236}">
                  <a16:creationId xmlns:a16="http://schemas.microsoft.com/office/drawing/2014/main" id="{430582E8-74B5-4402-85D9-C35FDED07D3D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art B</a:t>
              </a:r>
            </a:p>
          </p:txBody>
        </p:sp>
        <p:sp>
          <p:nvSpPr>
            <p:cNvPr id="51" name="Rectangle: Rounded Corners 8">
              <a:extLst>
                <a:ext uri="{FF2B5EF4-FFF2-40B4-BE49-F238E27FC236}">
                  <a16:creationId xmlns:a16="http://schemas.microsoft.com/office/drawing/2014/main" id="{EB93BFA8-488F-4921-99AE-0C746830BDC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52" name="Rectangle: Rounded Corners 8">
              <a:extLst>
                <a:ext uri="{FF2B5EF4-FFF2-40B4-BE49-F238E27FC236}">
                  <a16:creationId xmlns:a16="http://schemas.microsoft.com/office/drawing/2014/main" id="{17340B37-CCB4-4F71-9D8C-C455353AF0D2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265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2. Part A – Rank  the Players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2A51C950-51A7-4421-8E3E-20D5F40AC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5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25624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4564959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6</a:t>
            </a:fld>
            <a:endParaRPr lang="ja-JP" altLang="en-US" noProof="0"/>
          </a:p>
        </p:txBody>
      </p:sp>
      <p:sp>
        <p:nvSpPr>
          <p:cNvPr id="10" name="コンテンツ プレースホルダー 2">
            <a:extLst>
              <a:ext uri="{FF2B5EF4-FFF2-40B4-BE49-F238E27FC236}">
                <a16:creationId xmlns:a16="http://schemas.microsoft.com/office/drawing/2014/main" id="{E7FB5E50-C110-4645-8045-906AD0D3E313}"/>
              </a:ext>
            </a:extLst>
          </p:cNvPr>
          <p:cNvSpPr txBox="1">
            <a:spLocks/>
          </p:cNvSpPr>
          <p:nvPr/>
        </p:nvSpPr>
        <p:spPr>
          <a:xfrm>
            <a:off x="544504" y="1498431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arget variable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Overall (</a:t>
            </a:r>
            <a:r>
              <a:rPr lang="en-US" altLang="ja-JP" sz="1100">
                <a:solidFill>
                  <a:srgbClr val="000000"/>
                </a:solidFill>
                <a:latin typeface="+mj-lt"/>
                <a:ea typeface="Meiryo UI"/>
              </a:rPr>
              <a:t>player's overall rating)</a:t>
            </a:r>
            <a:endParaRPr lang="en-US" altLang="ja-JP" sz="1100">
              <a:latin typeface="+mj-lt"/>
              <a:ea typeface="Meiryo UI"/>
              <a:cs typeface="Arial"/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1949366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5149304" y="1547842"/>
            <a:ext cx="635435" cy="439164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46" name="コンテンツ プレースホルダー 2">
            <a:extLst>
              <a:ext uri="{FF2B5EF4-FFF2-40B4-BE49-F238E27FC236}">
                <a16:creationId xmlns:a16="http://schemas.microsoft.com/office/drawing/2014/main" id="{5EF5A04A-4329-4C5F-A8B1-B5DBE47C849F}"/>
              </a:ext>
            </a:extLst>
          </p:cNvPr>
          <p:cNvSpPr txBox="1">
            <a:spLocks/>
          </p:cNvSpPr>
          <p:nvPr/>
        </p:nvSpPr>
        <p:spPr>
          <a:xfrm>
            <a:off x="544504" y="2543285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raining dataset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ll players in FIFA 2019 dataset</a:t>
            </a:r>
            <a:endParaRPr lang="ja-JP"/>
          </a:p>
        </p:txBody>
      </p: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581516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6172840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300BE465-19DF-4E6A-AE00-B648FDFC4F8E}"/>
              </a:ext>
            </a:extLst>
          </p:cNvPr>
          <p:cNvSpPr/>
          <p:nvPr/>
        </p:nvSpPr>
        <p:spPr>
          <a:xfrm>
            <a:off x="5988027" y="1760045"/>
            <a:ext cx="2273931" cy="1174930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9" name="四角形: 角を丸くする 58">
            <a:extLst>
              <a:ext uri="{FF2B5EF4-FFF2-40B4-BE49-F238E27FC236}">
                <a16:creationId xmlns:a16="http://schemas.microsoft.com/office/drawing/2014/main" id="{9259D7E4-1AD4-4581-A087-C4ED7A9B1708}"/>
              </a:ext>
            </a:extLst>
          </p:cNvPr>
          <p:cNvSpPr/>
          <p:nvPr/>
        </p:nvSpPr>
        <p:spPr>
          <a:xfrm>
            <a:off x="5988027" y="3210697"/>
            <a:ext cx="2273931" cy="104202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4C009A9-940D-4226-96E3-F00415B1A58D}"/>
              </a:ext>
            </a:extLst>
          </p:cNvPr>
          <p:cNvSpPr txBox="1"/>
          <p:nvPr/>
        </p:nvSpPr>
        <p:spPr>
          <a:xfrm>
            <a:off x="6125625" y="2191289"/>
            <a:ext cx="877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err="1"/>
              <a:t>XGBoost</a:t>
            </a:r>
            <a:endParaRPr lang="en-US" sz="1200" b="1"/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32A4CE61-7143-4B28-A387-83097975B942}"/>
              </a:ext>
            </a:extLst>
          </p:cNvPr>
          <p:cNvSpPr txBox="1"/>
          <p:nvPr/>
        </p:nvSpPr>
        <p:spPr>
          <a:xfrm>
            <a:off x="6125625" y="3505305"/>
            <a:ext cx="877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Random Forest</a:t>
            </a: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6000329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6961632" y="1431244"/>
            <a:ext cx="1369248" cy="2086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uning parameters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75" name="グループ化 74">
            <a:extLst>
              <a:ext uri="{FF2B5EF4-FFF2-40B4-BE49-F238E27FC236}">
                <a16:creationId xmlns:a16="http://schemas.microsoft.com/office/drawing/2014/main" id="{4B7674F1-4D18-4805-85CB-137D16F3C504}"/>
              </a:ext>
            </a:extLst>
          </p:cNvPr>
          <p:cNvGrpSpPr/>
          <p:nvPr/>
        </p:nvGrpSpPr>
        <p:grpSpPr>
          <a:xfrm>
            <a:off x="7069836" y="3312661"/>
            <a:ext cx="1099691" cy="824039"/>
            <a:chOff x="4899016" y="1751748"/>
            <a:chExt cx="993366" cy="824039"/>
          </a:xfrm>
        </p:grpSpPr>
        <p:sp>
          <p:nvSpPr>
            <p:cNvPr id="76" name="四角形: 角を丸くする 75">
              <a:extLst>
                <a:ext uri="{FF2B5EF4-FFF2-40B4-BE49-F238E27FC236}">
                  <a16:creationId xmlns:a16="http://schemas.microsoft.com/office/drawing/2014/main" id="{F589206D-95F1-41D7-94C9-E83BB7098A85}"/>
                </a:ext>
              </a:extLst>
            </p:cNvPr>
            <p:cNvSpPr/>
            <p:nvPr/>
          </p:nvSpPr>
          <p:spPr>
            <a:xfrm>
              <a:off x="4916736" y="1751748"/>
              <a:ext cx="975646" cy="36500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Tree depth</a:t>
              </a:r>
            </a:p>
          </p:txBody>
        </p:sp>
        <p:sp>
          <p:nvSpPr>
            <p:cNvPr id="77" name="四角形: 角を丸くする 76">
              <a:extLst>
                <a:ext uri="{FF2B5EF4-FFF2-40B4-BE49-F238E27FC236}">
                  <a16:creationId xmlns:a16="http://schemas.microsoft.com/office/drawing/2014/main" id="{DD2F2326-8B9F-4166-A115-1D91AB87C409}"/>
                </a:ext>
              </a:extLst>
            </p:cNvPr>
            <p:cNvSpPr/>
            <p:nvPr/>
          </p:nvSpPr>
          <p:spPr>
            <a:xfrm>
              <a:off x="4899016" y="2210779"/>
              <a:ext cx="993366" cy="365008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# of trees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0" name="四角形: 角を丸くする 59">
            <a:extLst>
              <a:ext uri="{FF2B5EF4-FFF2-40B4-BE49-F238E27FC236}">
                <a16:creationId xmlns:a16="http://schemas.microsoft.com/office/drawing/2014/main" id="{3BD99CDE-6CE6-451E-9589-5060FA553EF8}"/>
              </a:ext>
            </a:extLst>
          </p:cNvPr>
          <p:cNvSpPr/>
          <p:nvPr/>
        </p:nvSpPr>
        <p:spPr>
          <a:xfrm>
            <a:off x="5986026" y="4519581"/>
            <a:ext cx="2273931" cy="66988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3B87171A-2363-4AB8-9D32-85F1EEC1BE62}"/>
              </a:ext>
            </a:extLst>
          </p:cNvPr>
          <p:cNvSpPr txBox="1"/>
          <p:nvPr/>
        </p:nvSpPr>
        <p:spPr>
          <a:xfrm>
            <a:off x="6125625" y="4715597"/>
            <a:ext cx="87749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LASSO</a:t>
            </a:r>
            <a:endParaRPr lang="en-US" sz="1200" b="1">
              <a:cs typeface="Arial"/>
            </a:endParaRPr>
          </a:p>
        </p:txBody>
      </p:sp>
      <p:sp>
        <p:nvSpPr>
          <p:cNvPr id="82" name="四角形: 角を丸くする 81">
            <a:extLst>
              <a:ext uri="{FF2B5EF4-FFF2-40B4-BE49-F238E27FC236}">
                <a16:creationId xmlns:a16="http://schemas.microsoft.com/office/drawing/2014/main" id="{A87BA4E3-E235-4001-AF64-A21E6FD8B366}"/>
              </a:ext>
            </a:extLst>
          </p:cNvPr>
          <p:cNvSpPr/>
          <p:nvPr/>
        </p:nvSpPr>
        <p:spPr>
          <a:xfrm>
            <a:off x="7068403" y="4625501"/>
            <a:ext cx="1099691" cy="4624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L1 norm parameter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87" name="コンテンツ プレースホルダー 2">
            <a:extLst>
              <a:ext uri="{FF2B5EF4-FFF2-40B4-BE49-F238E27FC236}">
                <a16:creationId xmlns:a16="http://schemas.microsoft.com/office/drawing/2014/main" id="{FD6B039C-D7CC-4D97-B95F-1361242B5170}"/>
              </a:ext>
            </a:extLst>
          </p:cNvPr>
          <p:cNvSpPr txBox="1">
            <a:spLocks/>
          </p:cNvSpPr>
          <p:nvPr/>
        </p:nvSpPr>
        <p:spPr>
          <a:xfrm>
            <a:off x="5894429" y="5510156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</a:rPr>
              <a:t>Hyperparameter tuning using random search with cross validation</a:t>
            </a:r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Final model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B1282B5E-2425-41BD-999D-EF1F5F65EB8D}"/>
              </a:ext>
            </a:extLst>
          </p:cNvPr>
          <p:cNvGrpSpPr/>
          <p:nvPr/>
        </p:nvGrpSpPr>
        <p:grpSpPr>
          <a:xfrm>
            <a:off x="7068403" y="1828682"/>
            <a:ext cx="1099692" cy="1018971"/>
            <a:chOff x="4916736" y="1778329"/>
            <a:chExt cx="975646" cy="1012681"/>
          </a:xfrm>
        </p:grpSpPr>
        <p:sp>
          <p:nvSpPr>
            <p:cNvPr id="97" name="四角形: 角を丸くする 96">
              <a:extLst>
                <a:ext uri="{FF2B5EF4-FFF2-40B4-BE49-F238E27FC236}">
                  <a16:creationId xmlns:a16="http://schemas.microsoft.com/office/drawing/2014/main" id="{1D8E2CBB-4147-4C36-862D-077CE0D51F46}"/>
                </a:ext>
              </a:extLst>
            </p:cNvPr>
            <p:cNvSpPr/>
            <p:nvPr/>
          </p:nvSpPr>
          <p:spPr>
            <a:xfrm>
              <a:off x="4916736" y="1778329"/>
              <a:ext cx="975646" cy="453612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  <a:cs typeface="Arial"/>
                </a:rPr>
                <a:t>Tree parameters</a:t>
              </a:r>
            </a:p>
          </p:txBody>
        </p:sp>
        <p:sp>
          <p:nvSpPr>
            <p:cNvPr id="98" name="四角形: 角を丸くする 97">
              <a:extLst>
                <a:ext uri="{FF2B5EF4-FFF2-40B4-BE49-F238E27FC236}">
                  <a16:creationId xmlns:a16="http://schemas.microsoft.com/office/drawing/2014/main" id="{448B4E81-7592-4A38-B99F-B8F004AE6DE1}"/>
                </a:ext>
              </a:extLst>
            </p:cNvPr>
            <p:cNvSpPr/>
            <p:nvPr/>
          </p:nvSpPr>
          <p:spPr>
            <a:xfrm>
              <a:off x="4916736" y="2328536"/>
              <a:ext cx="975646" cy="462474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000">
                  <a:solidFill>
                    <a:schemeClr val="tx1"/>
                  </a:solidFill>
                </a:rPr>
                <a:t>Regularization parameters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186640" y="2033307"/>
            <a:ext cx="2753628" cy="31204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39" name="コンテンツ プレースホルダー 2">
            <a:extLst>
              <a:ext uri="{FF2B5EF4-FFF2-40B4-BE49-F238E27FC236}">
                <a16:creationId xmlns:a16="http://schemas.microsoft.com/office/drawing/2014/main" id="{1A9ACCC7-A9F5-4CD0-BDB3-071DA8E55BA7}"/>
              </a:ext>
            </a:extLst>
          </p:cNvPr>
          <p:cNvSpPr txBox="1">
            <a:spLocks/>
          </p:cNvSpPr>
          <p:nvPr/>
        </p:nvSpPr>
        <p:spPr>
          <a:xfrm>
            <a:off x="544504" y="3571098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est dataset: </a:t>
            </a:r>
            <a:r>
              <a:rPr lang="en-US" sz="1100">
                <a:latin typeface="+mj-lt"/>
                <a:ea typeface="Meiryo UI"/>
              </a:rPr>
              <a:t>players in the clubs below (FIFA 2020 dataset)</a:t>
            </a:r>
            <a:endParaRPr lang="en-US" sz="1100">
              <a:latin typeface="Meiryo UI"/>
              <a:ea typeface="Meiryo UI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9D78AF-6209-457E-B427-0192033A62E9}"/>
              </a:ext>
            </a:extLst>
          </p:cNvPr>
          <p:cNvGrpSpPr/>
          <p:nvPr/>
        </p:nvGrpSpPr>
        <p:grpSpPr>
          <a:xfrm>
            <a:off x="912307" y="4039067"/>
            <a:ext cx="1602670" cy="1951363"/>
            <a:chOff x="1009772" y="4101090"/>
            <a:chExt cx="1602670" cy="1951363"/>
          </a:xfrm>
        </p:grpSpPr>
        <p:grpSp>
          <p:nvGrpSpPr>
            <p:cNvPr id="11" name="グループ化 46">
              <a:extLst>
                <a:ext uri="{FF2B5EF4-FFF2-40B4-BE49-F238E27FC236}">
                  <a16:creationId xmlns:a16="http://schemas.microsoft.com/office/drawing/2014/main" id="{9AB621E7-ECC0-4841-B061-A17AB8CED4A7}"/>
                </a:ext>
              </a:extLst>
            </p:cNvPr>
            <p:cNvGrpSpPr/>
            <p:nvPr/>
          </p:nvGrpSpPr>
          <p:grpSpPr>
            <a:xfrm>
              <a:off x="1009772" y="4101090"/>
              <a:ext cx="1600898" cy="1382522"/>
              <a:chOff x="1064393" y="1856462"/>
              <a:chExt cx="1600898" cy="1382522"/>
            </a:xfrm>
          </p:grpSpPr>
          <p:sp>
            <p:nvSpPr>
              <p:cNvPr id="134" name="四角形: 角を丸くする 48">
                <a:extLst>
                  <a:ext uri="{FF2B5EF4-FFF2-40B4-BE49-F238E27FC236}">
                    <a16:creationId xmlns:a16="http://schemas.microsoft.com/office/drawing/2014/main" id="{DE079A8E-1F42-4CA0-A790-DCD5F9243529}"/>
                  </a:ext>
                </a:extLst>
              </p:cNvPr>
              <p:cNvSpPr/>
              <p:nvPr/>
            </p:nvSpPr>
            <p:spPr>
              <a:xfrm>
                <a:off x="1064393" y="1856462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FC Barcelona</a:t>
                </a:r>
              </a:p>
            </p:txBody>
          </p:sp>
          <p:sp>
            <p:nvSpPr>
              <p:cNvPr id="135" name="四角形: 角を丸くする 49">
                <a:extLst>
                  <a:ext uri="{FF2B5EF4-FFF2-40B4-BE49-F238E27FC236}">
                    <a16:creationId xmlns:a16="http://schemas.microsoft.com/office/drawing/2014/main" id="{C8163420-C5D8-4EF4-87DA-06AC91673CF0}"/>
                  </a:ext>
                </a:extLst>
              </p:cNvPr>
              <p:cNvSpPr/>
              <p:nvPr/>
            </p:nvSpPr>
            <p:spPr>
              <a:xfrm>
                <a:off x="1064393" y="2144851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FC Bayern München</a:t>
                </a:r>
              </a:p>
            </p:txBody>
          </p:sp>
          <p:sp>
            <p:nvSpPr>
              <p:cNvPr id="136" name="四角形: 角を丸くする 50">
                <a:extLst>
                  <a:ext uri="{FF2B5EF4-FFF2-40B4-BE49-F238E27FC236}">
                    <a16:creationId xmlns:a16="http://schemas.microsoft.com/office/drawing/2014/main" id="{9501DEA5-E319-46B5-89B7-9527A78D4244}"/>
                  </a:ext>
                </a:extLst>
              </p:cNvPr>
              <p:cNvSpPr/>
              <p:nvPr/>
            </p:nvSpPr>
            <p:spPr>
              <a:xfrm>
                <a:off x="1064393" y="2433240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Real Madrid</a:t>
                </a:r>
              </a:p>
            </p:txBody>
          </p:sp>
          <p:sp>
            <p:nvSpPr>
              <p:cNvPr id="137" name="四角形: 角を丸くする 51">
                <a:extLst>
                  <a:ext uri="{FF2B5EF4-FFF2-40B4-BE49-F238E27FC236}">
                    <a16:creationId xmlns:a16="http://schemas.microsoft.com/office/drawing/2014/main" id="{DFE6B03A-583F-4A32-9821-4E7EE95296F8}"/>
                  </a:ext>
                </a:extLst>
              </p:cNvPr>
              <p:cNvSpPr/>
              <p:nvPr/>
            </p:nvSpPr>
            <p:spPr>
              <a:xfrm>
                <a:off x="1064393" y="2721629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Paris Saint-Germain</a:t>
                </a:r>
              </a:p>
            </p:txBody>
          </p:sp>
          <p:sp>
            <p:nvSpPr>
              <p:cNvPr id="138" name="四角形: 角を丸くする 52">
                <a:extLst>
                  <a:ext uri="{FF2B5EF4-FFF2-40B4-BE49-F238E27FC236}">
                    <a16:creationId xmlns:a16="http://schemas.microsoft.com/office/drawing/2014/main" id="{5B1928AB-5D5D-4EF4-A5F1-8F4336070BFD}"/>
                  </a:ext>
                </a:extLst>
              </p:cNvPr>
              <p:cNvSpPr/>
              <p:nvPr/>
            </p:nvSpPr>
            <p:spPr>
              <a:xfrm>
                <a:off x="1064393" y="3001158"/>
                <a:ext cx="1600898" cy="237826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>
                    <a:solidFill>
                      <a:schemeClr val="tx1"/>
                    </a:solidFill>
                  </a:rPr>
                  <a:t>Juventus</a:t>
                </a:r>
              </a:p>
            </p:txBody>
          </p:sp>
        </p:grpSp>
        <p:sp>
          <p:nvSpPr>
            <p:cNvPr id="12" name="四角形: 角を丸くする 52">
              <a:extLst>
                <a:ext uri="{FF2B5EF4-FFF2-40B4-BE49-F238E27FC236}">
                  <a16:creationId xmlns:a16="http://schemas.microsoft.com/office/drawing/2014/main" id="{1D81D92B-A063-4F8D-86AA-61E049663949}"/>
                </a:ext>
              </a:extLst>
            </p:cNvPr>
            <p:cNvSpPr/>
            <p:nvPr/>
          </p:nvSpPr>
          <p:spPr>
            <a:xfrm>
              <a:off x="1011544" y="5814627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Liverpool FC</a:t>
              </a:r>
            </a:p>
          </p:txBody>
        </p:sp>
        <p:sp>
          <p:nvSpPr>
            <p:cNvPr id="141" name="四角形: 角を丸くする 52">
              <a:extLst>
                <a:ext uri="{FF2B5EF4-FFF2-40B4-BE49-F238E27FC236}">
                  <a16:creationId xmlns:a16="http://schemas.microsoft.com/office/drawing/2014/main" id="{419F8841-C0C2-43A4-B98C-DC67C5126ABD}"/>
                </a:ext>
              </a:extLst>
            </p:cNvPr>
            <p:cNvSpPr/>
            <p:nvPr/>
          </p:nvSpPr>
          <p:spPr>
            <a:xfrm>
              <a:off x="1011544" y="5522232"/>
              <a:ext cx="1600898" cy="23782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Manchester City</a:t>
              </a:r>
            </a:p>
          </p:txBody>
        </p:sp>
      </p:grpSp>
      <p:sp>
        <p:nvSpPr>
          <p:cNvPr id="14" name="四角形: 角を丸くする 48">
            <a:extLst>
              <a:ext uri="{FF2B5EF4-FFF2-40B4-BE49-F238E27FC236}">
                <a16:creationId xmlns:a16="http://schemas.microsoft.com/office/drawing/2014/main" id="{0BE95F09-D182-425A-95E1-34169A5C487C}"/>
              </a:ext>
            </a:extLst>
          </p:cNvPr>
          <p:cNvSpPr/>
          <p:nvPr/>
        </p:nvSpPr>
        <p:spPr>
          <a:xfrm>
            <a:off x="914079" y="3021885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FIFA 2019 dataset</a:t>
            </a:r>
          </a:p>
        </p:txBody>
      </p:sp>
      <p:sp>
        <p:nvSpPr>
          <p:cNvPr id="143" name="四角形: 角を丸くする 48">
            <a:extLst>
              <a:ext uri="{FF2B5EF4-FFF2-40B4-BE49-F238E27FC236}">
                <a16:creationId xmlns:a16="http://schemas.microsoft.com/office/drawing/2014/main" id="{85D872FA-1629-4AE7-A24A-2B78FFC216BE}"/>
              </a:ext>
            </a:extLst>
          </p:cNvPr>
          <p:cNvSpPr/>
          <p:nvPr/>
        </p:nvSpPr>
        <p:spPr>
          <a:xfrm>
            <a:off x="914079" y="1994070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Overall (co)</a:t>
            </a:r>
            <a:endParaRPr lang="en-US"/>
          </a:p>
        </p:txBody>
      </p:sp>
      <p:cxnSp>
        <p:nvCxnSpPr>
          <p:cNvPr id="15" name="直線コネクタ 116">
            <a:extLst>
              <a:ext uri="{FF2B5EF4-FFF2-40B4-BE49-F238E27FC236}">
                <a16:creationId xmlns:a16="http://schemas.microsoft.com/office/drawing/2014/main" id="{2B0E3D47-F849-4155-B087-42C7B39D3509}"/>
              </a:ext>
            </a:extLst>
          </p:cNvPr>
          <p:cNvCxnSpPr>
            <a:cxnSpLocks/>
          </p:cNvCxnSpPr>
          <p:nvPr/>
        </p:nvCxnSpPr>
        <p:spPr>
          <a:xfrm>
            <a:off x="2862193" y="1547840"/>
            <a:ext cx="4157" cy="442137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コンテンツ プレースホルダー 2">
            <a:extLst>
              <a:ext uri="{FF2B5EF4-FFF2-40B4-BE49-F238E27FC236}">
                <a16:creationId xmlns:a16="http://schemas.microsoft.com/office/drawing/2014/main" id="{1EBE3FC3-8820-4563-BCBD-BA9872BAC380}"/>
              </a:ext>
            </a:extLst>
          </p:cNvPr>
          <p:cNvSpPr txBox="1">
            <a:spLocks/>
          </p:cNvSpPr>
          <p:nvPr/>
        </p:nvSpPr>
        <p:spPr>
          <a:xfrm>
            <a:off x="2972270" y="1498431"/>
            <a:ext cx="2124427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Data processing flow: </a:t>
            </a:r>
          </a:p>
          <a:p>
            <a:pPr marL="0" indent="0">
              <a:spcBef>
                <a:spcPts val="400"/>
              </a:spcBef>
              <a:buNone/>
            </a:pPr>
            <a:endParaRPr lang="en-US" sz="1100">
              <a:latin typeface="Arial"/>
              <a:ea typeface="Meiryo UI"/>
              <a:cs typeface="Arial"/>
            </a:endParaRPr>
          </a:p>
          <a:p>
            <a:pPr marL="0" indent="0">
              <a:buNone/>
            </a:pPr>
            <a:endParaRPr lang="en-US" altLang="ja-JP" sz="1100" b="1">
              <a:latin typeface="+mj-lt"/>
              <a:ea typeface="Meiryo UI"/>
              <a:cs typeface="Arial"/>
            </a:endParaRPr>
          </a:p>
        </p:txBody>
      </p:sp>
      <p:sp>
        <p:nvSpPr>
          <p:cNvPr id="19" name="四角形: 角を丸くする 63">
            <a:extLst>
              <a:ext uri="{FF2B5EF4-FFF2-40B4-BE49-F238E27FC236}">
                <a16:creationId xmlns:a16="http://schemas.microsoft.com/office/drawing/2014/main" id="{35A304CE-3E8B-4A07-931E-7549EF25AFE2}"/>
              </a:ext>
            </a:extLst>
          </p:cNvPr>
          <p:cNvSpPr/>
          <p:nvPr/>
        </p:nvSpPr>
        <p:spPr>
          <a:xfrm>
            <a:off x="3004133" y="1889383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One-hot-encoding for categorical variables</a:t>
            </a:r>
            <a:endParaRPr lang="en-US" sz="1000">
              <a:solidFill>
                <a:schemeClr val="tx1"/>
              </a:solidFill>
              <a:cs typeface="Arial"/>
            </a:endParaRPr>
          </a:p>
          <a:p>
            <a:pPr algn="ctr">
              <a:spcBef>
                <a:spcPts val="400"/>
              </a:spcBef>
            </a:pPr>
            <a:r>
              <a:rPr lang="en-US" sz="1000">
                <a:solidFill>
                  <a:schemeClr val="tx1"/>
                </a:solidFill>
                <a:cs typeface="Arial"/>
              </a:rPr>
              <a:t>Ex.) player traits, tags, etc.</a:t>
            </a: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E1FB600C-D32F-4036-AD81-BF549B8002F7}"/>
              </a:ext>
            </a:extLst>
          </p:cNvPr>
          <p:cNvSpPr/>
          <p:nvPr/>
        </p:nvSpPr>
        <p:spPr>
          <a:xfrm>
            <a:off x="3710558" y="2772553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7" name="四角形: 角を丸くする 63">
            <a:extLst>
              <a:ext uri="{FF2B5EF4-FFF2-40B4-BE49-F238E27FC236}">
                <a16:creationId xmlns:a16="http://schemas.microsoft.com/office/drawing/2014/main" id="{57DE242A-D634-4995-98A5-999B35774B19}"/>
              </a:ext>
            </a:extLst>
          </p:cNvPr>
          <p:cNvSpPr/>
          <p:nvPr/>
        </p:nvSpPr>
        <p:spPr>
          <a:xfrm>
            <a:off x="3004133" y="3307057"/>
            <a:ext cx="1899733" cy="86672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mputation</a:t>
            </a:r>
            <a:r>
              <a:rPr lang="en-US" sz="1000">
                <a:solidFill>
                  <a:schemeClr val="tx1"/>
                </a:solidFill>
                <a:cs typeface="Arial"/>
              </a:rPr>
              <a:t> and</a:t>
            </a: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Standardization</a:t>
            </a:r>
          </a:p>
          <a:p>
            <a:pPr algn="ctr">
              <a:spcBef>
                <a:spcPts val="400"/>
              </a:spcBef>
            </a:pPr>
            <a:r>
              <a:rPr lang="en-US" sz="1000">
                <a:solidFill>
                  <a:schemeClr val="tx1"/>
                </a:solidFill>
                <a:cs typeface="Arial"/>
              </a:rPr>
              <a:t>Ex.) goal keeping abilities </a:t>
            </a:r>
          </a:p>
          <a:p>
            <a:pPr algn="ctr">
              <a:spcBef>
                <a:spcPts val="400"/>
              </a:spcBef>
            </a:pPr>
            <a:r>
              <a:rPr lang="en-US" sz="1000">
                <a:solidFill>
                  <a:schemeClr val="tx1"/>
                </a:solidFill>
                <a:cs typeface="Arial"/>
              </a:rPr>
              <a:t>for field players, etc.</a:t>
            </a:r>
            <a:endParaRPr lang="en-US">
              <a:solidFill>
                <a:schemeClr val="tx1"/>
              </a:solidFill>
              <a:cs typeface="Arial"/>
            </a:endParaRPr>
          </a:p>
        </p:txBody>
      </p:sp>
      <p:sp>
        <p:nvSpPr>
          <p:cNvPr id="148" name="Arrow: Down 147">
            <a:extLst>
              <a:ext uri="{FF2B5EF4-FFF2-40B4-BE49-F238E27FC236}">
                <a16:creationId xmlns:a16="http://schemas.microsoft.com/office/drawing/2014/main" id="{9CE6960C-E0D6-4332-943A-785E7457EB6F}"/>
              </a:ext>
            </a:extLst>
          </p:cNvPr>
          <p:cNvSpPr/>
          <p:nvPr/>
        </p:nvSpPr>
        <p:spPr>
          <a:xfrm>
            <a:off x="3710558" y="4323134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9" name="四角形: 角を丸くする 63">
            <a:extLst>
              <a:ext uri="{FF2B5EF4-FFF2-40B4-BE49-F238E27FC236}">
                <a16:creationId xmlns:a16="http://schemas.microsoft.com/office/drawing/2014/main" id="{7D7FBDB5-CBAB-4022-897E-790F5D1DF1E4}"/>
              </a:ext>
            </a:extLst>
          </p:cNvPr>
          <p:cNvSpPr/>
          <p:nvPr/>
        </p:nvSpPr>
        <p:spPr>
          <a:xfrm>
            <a:off x="3004133" y="4857638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EDA and Regression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6CE5D545-27BF-4A65-BBA3-A9074244AF1C}"/>
              </a:ext>
            </a:extLst>
          </p:cNvPr>
          <p:cNvGrpSpPr/>
          <p:nvPr/>
        </p:nvGrpSpPr>
        <p:grpSpPr>
          <a:xfrm>
            <a:off x="8507420" y="1547842"/>
            <a:ext cx="635435" cy="4391646"/>
            <a:chOff x="5773968" y="1609048"/>
            <a:chExt cx="581860" cy="4409366"/>
          </a:xfrm>
        </p:grpSpPr>
        <p:sp>
          <p:nvSpPr>
            <p:cNvPr id="153" name="Isosceles Triangle 27">
              <a:extLst>
                <a:ext uri="{FF2B5EF4-FFF2-40B4-BE49-F238E27FC236}">
                  <a16:creationId xmlns:a16="http://schemas.microsoft.com/office/drawing/2014/main" id="{14A8BA67-E10C-43CB-9B33-3246B4BA0681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TextBox 35">
              <a:extLst>
                <a:ext uri="{FF2B5EF4-FFF2-40B4-BE49-F238E27FC236}">
                  <a16:creationId xmlns:a16="http://schemas.microsoft.com/office/drawing/2014/main" id="{AF15BC72-A281-45DD-B097-F537DD00337C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156" name="四角形: 角を丸くする 101">
            <a:extLst>
              <a:ext uri="{FF2B5EF4-FFF2-40B4-BE49-F238E27FC236}">
                <a16:creationId xmlns:a16="http://schemas.microsoft.com/office/drawing/2014/main" id="{7CFDC072-2D75-4871-A864-9A2E5D9DD62D}"/>
              </a:ext>
            </a:extLst>
          </p:cNvPr>
          <p:cNvSpPr/>
          <p:nvPr/>
        </p:nvSpPr>
        <p:spPr>
          <a:xfrm>
            <a:off x="9342715" y="3122953"/>
            <a:ext cx="895173" cy="373726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err="1">
                <a:solidFill>
                  <a:schemeClr val="tx1"/>
                </a:solidFill>
              </a:rPr>
              <a:t>XGBoos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57" name="四角形: 角を丸くする 102">
            <a:extLst>
              <a:ext uri="{FF2B5EF4-FFF2-40B4-BE49-F238E27FC236}">
                <a16:creationId xmlns:a16="http://schemas.microsoft.com/office/drawing/2014/main" id="{527E4725-5505-468D-B3C7-148B730DC9A2}"/>
              </a:ext>
            </a:extLst>
          </p:cNvPr>
          <p:cNvSpPr/>
          <p:nvPr/>
        </p:nvSpPr>
        <p:spPr>
          <a:xfrm>
            <a:off x="9342714" y="3572445"/>
            <a:ext cx="895173" cy="373726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Random Forest</a:t>
            </a:r>
          </a:p>
        </p:txBody>
      </p:sp>
      <p:sp>
        <p:nvSpPr>
          <p:cNvPr id="158" name="四角形: 角を丸くする 103">
            <a:extLst>
              <a:ext uri="{FF2B5EF4-FFF2-40B4-BE49-F238E27FC236}">
                <a16:creationId xmlns:a16="http://schemas.microsoft.com/office/drawing/2014/main" id="{5B895ECD-3A10-481B-B212-3374F686518A}"/>
              </a:ext>
            </a:extLst>
          </p:cNvPr>
          <p:cNvSpPr/>
          <p:nvPr/>
        </p:nvSpPr>
        <p:spPr>
          <a:xfrm>
            <a:off x="9342714" y="4029006"/>
            <a:ext cx="895173" cy="373726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LASSO</a:t>
            </a:r>
          </a:p>
        </p:txBody>
      </p:sp>
      <p:sp>
        <p:nvSpPr>
          <p:cNvPr id="159" name="コンテンツ プレースホルダー 2">
            <a:extLst>
              <a:ext uri="{FF2B5EF4-FFF2-40B4-BE49-F238E27FC236}">
                <a16:creationId xmlns:a16="http://schemas.microsoft.com/office/drawing/2014/main" id="{24CBC3D8-4814-4254-B8F9-0BD9DDA9C2BD}"/>
              </a:ext>
            </a:extLst>
          </p:cNvPr>
          <p:cNvSpPr txBox="1">
            <a:spLocks/>
          </p:cNvSpPr>
          <p:nvPr/>
        </p:nvSpPr>
        <p:spPr>
          <a:xfrm>
            <a:off x="10111584" y="2890393"/>
            <a:ext cx="1005970" cy="208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est MSE</a:t>
            </a:r>
          </a:p>
        </p:txBody>
      </p:sp>
      <p:sp>
        <p:nvSpPr>
          <p:cNvPr id="160" name="コンテンツ プレースホルダー 2">
            <a:extLst>
              <a:ext uri="{FF2B5EF4-FFF2-40B4-BE49-F238E27FC236}">
                <a16:creationId xmlns:a16="http://schemas.microsoft.com/office/drawing/2014/main" id="{BD6843CA-0F6B-4152-B5CB-98C2429D2D36}"/>
              </a:ext>
            </a:extLst>
          </p:cNvPr>
          <p:cNvSpPr txBox="1">
            <a:spLocks/>
          </p:cNvSpPr>
          <p:nvPr/>
        </p:nvSpPr>
        <p:spPr>
          <a:xfrm>
            <a:off x="10891304" y="2801789"/>
            <a:ext cx="1005970" cy="4035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% of </a:t>
            </a:r>
            <a:r>
              <a:rPr lang="en-US" altLang="ja-JP" sz="1000" b="1" err="1">
                <a:solidFill>
                  <a:schemeClr val="accent2"/>
                </a:solidFill>
                <a:latin typeface="+mj-lt"/>
                <a:ea typeface="Meiryo UI"/>
              </a:rPr>
              <a:t>obs</a:t>
            </a: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 within +/- 2</a:t>
            </a:r>
            <a:endParaRPr lang="en-US" sz="1000" b="1">
              <a:solidFill>
                <a:schemeClr val="accent2"/>
              </a:solidFill>
              <a:latin typeface="+mj-lt"/>
              <a:ea typeface="Meiryo UI"/>
            </a:endParaRPr>
          </a:p>
        </p:txBody>
      </p:sp>
      <p:sp>
        <p:nvSpPr>
          <p:cNvPr id="25" name="テキスト ボックス 73">
            <a:extLst>
              <a:ext uri="{FF2B5EF4-FFF2-40B4-BE49-F238E27FC236}">
                <a16:creationId xmlns:a16="http://schemas.microsoft.com/office/drawing/2014/main" id="{EF6831AC-42DB-4DCD-B859-3737CCF869EA}"/>
              </a:ext>
            </a:extLst>
          </p:cNvPr>
          <p:cNvSpPr txBox="1"/>
          <p:nvPr/>
        </p:nvSpPr>
        <p:spPr>
          <a:xfrm>
            <a:off x="10180289" y="3179661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</a:rPr>
              <a:t>0.68</a:t>
            </a:r>
          </a:p>
        </p:txBody>
      </p:sp>
      <p:sp>
        <p:nvSpPr>
          <p:cNvPr id="162" name="テキスト ボックス 73">
            <a:extLst>
              <a:ext uri="{FF2B5EF4-FFF2-40B4-BE49-F238E27FC236}">
                <a16:creationId xmlns:a16="http://schemas.microsoft.com/office/drawing/2014/main" id="{3FF417EC-DE95-4AF0-99DD-63802B35B232}"/>
              </a:ext>
            </a:extLst>
          </p:cNvPr>
          <p:cNvSpPr txBox="1"/>
          <p:nvPr/>
        </p:nvSpPr>
        <p:spPr>
          <a:xfrm>
            <a:off x="10180289" y="3604963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0.72</a:t>
            </a:r>
            <a:endParaRPr lang="en-US"/>
          </a:p>
        </p:txBody>
      </p:sp>
      <p:sp>
        <p:nvSpPr>
          <p:cNvPr id="163" name="テキスト ボックス 73">
            <a:extLst>
              <a:ext uri="{FF2B5EF4-FFF2-40B4-BE49-F238E27FC236}">
                <a16:creationId xmlns:a16="http://schemas.microsoft.com/office/drawing/2014/main" id="{1B4BEB1D-3600-4F98-9368-B2F731593DC2}"/>
              </a:ext>
            </a:extLst>
          </p:cNvPr>
          <p:cNvSpPr txBox="1"/>
          <p:nvPr/>
        </p:nvSpPr>
        <p:spPr>
          <a:xfrm>
            <a:off x="10180289" y="4083428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7.99</a:t>
            </a:r>
          </a:p>
        </p:txBody>
      </p:sp>
      <p:sp>
        <p:nvSpPr>
          <p:cNvPr id="164" name="テキスト ボックス 73">
            <a:extLst>
              <a:ext uri="{FF2B5EF4-FFF2-40B4-BE49-F238E27FC236}">
                <a16:creationId xmlns:a16="http://schemas.microsoft.com/office/drawing/2014/main" id="{42301B5C-A6BF-4127-B974-450155542337}"/>
              </a:ext>
            </a:extLst>
          </p:cNvPr>
          <p:cNvSpPr txBox="1"/>
          <p:nvPr/>
        </p:nvSpPr>
        <p:spPr>
          <a:xfrm>
            <a:off x="10960009" y="4083428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60.2%</a:t>
            </a:r>
          </a:p>
        </p:txBody>
      </p:sp>
      <p:sp>
        <p:nvSpPr>
          <p:cNvPr id="166" name="コンテンツ プレースホルダー 2">
            <a:extLst>
              <a:ext uri="{FF2B5EF4-FFF2-40B4-BE49-F238E27FC236}">
                <a16:creationId xmlns:a16="http://schemas.microsoft.com/office/drawing/2014/main" id="{436B5FC7-0C2A-4E9B-BD9A-F858767207F6}"/>
              </a:ext>
            </a:extLst>
          </p:cNvPr>
          <p:cNvSpPr txBox="1">
            <a:spLocks/>
          </p:cNvSpPr>
          <p:nvPr/>
        </p:nvSpPr>
        <p:spPr>
          <a:xfrm>
            <a:off x="9279126" y="4562086"/>
            <a:ext cx="2461125" cy="25711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"% of </a:t>
            </a:r>
            <a:r>
              <a:rPr lang="en-US" altLang="ja-JP" sz="1000" err="1">
                <a:latin typeface="+mj-lt"/>
                <a:ea typeface="Meiryo UI"/>
              </a:rPr>
              <a:t>obs</a:t>
            </a:r>
            <a:r>
              <a:rPr lang="en-US" altLang="ja-JP" sz="1000">
                <a:latin typeface="+mj-lt"/>
                <a:ea typeface="Meiryo UI"/>
              </a:rPr>
              <a:t> within +/- 2" shows the proportion of observations that fall into +/- 2 of predicted overall rating.</a:t>
            </a:r>
            <a:endParaRPr lang="en-US"/>
          </a:p>
        </p:txBody>
      </p:sp>
      <p:sp>
        <p:nvSpPr>
          <p:cNvPr id="167" name="コンテンツ プレースホルダー 2">
            <a:extLst>
              <a:ext uri="{FF2B5EF4-FFF2-40B4-BE49-F238E27FC236}">
                <a16:creationId xmlns:a16="http://schemas.microsoft.com/office/drawing/2014/main" id="{2BE81E32-875E-4B7E-9091-46D7E846BCE7}"/>
              </a:ext>
            </a:extLst>
          </p:cNvPr>
          <p:cNvSpPr txBox="1">
            <a:spLocks/>
          </p:cNvSpPr>
          <p:nvPr/>
        </p:nvSpPr>
        <p:spPr>
          <a:xfrm>
            <a:off x="10386259" y="2589137"/>
            <a:ext cx="1342666" cy="208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Evaluation metrics</a:t>
            </a:r>
            <a:endParaRPr lang="en-US" altLang="ja-JP">
              <a:solidFill>
                <a:schemeClr val="accent2"/>
              </a:solidFill>
            </a:endParaRPr>
          </a:p>
        </p:txBody>
      </p:sp>
      <p:sp>
        <p:nvSpPr>
          <p:cNvPr id="168" name="テキスト ボックス 73">
            <a:extLst>
              <a:ext uri="{FF2B5EF4-FFF2-40B4-BE49-F238E27FC236}">
                <a16:creationId xmlns:a16="http://schemas.microsoft.com/office/drawing/2014/main" id="{79D0B87C-20AA-44FE-B692-1733994AACAA}"/>
              </a:ext>
            </a:extLst>
          </p:cNvPr>
          <p:cNvSpPr txBox="1"/>
          <p:nvPr/>
        </p:nvSpPr>
        <p:spPr>
          <a:xfrm>
            <a:off x="10960009" y="3596102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/>
              <a:t>96.4%</a:t>
            </a:r>
          </a:p>
        </p:txBody>
      </p:sp>
      <p:sp>
        <p:nvSpPr>
          <p:cNvPr id="169" name="テキスト ボックス 73">
            <a:extLst>
              <a:ext uri="{FF2B5EF4-FFF2-40B4-BE49-F238E27FC236}">
                <a16:creationId xmlns:a16="http://schemas.microsoft.com/office/drawing/2014/main" id="{EE1CA35D-7869-4392-9225-B045953BA53A}"/>
              </a:ext>
            </a:extLst>
          </p:cNvPr>
          <p:cNvSpPr txBox="1"/>
          <p:nvPr/>
        </p:nvSpPr>
        <p:spPr>
          <a:xfrm>
            <a:off x="10960009" y="3170799"/>
            <a:ext cx="87708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</a:rPr>
              <a:t>97.7%</a:t>
            </a:r>
          </a:p>
        </p:txBody>
      </p:sp>
      <p:sp>
        <p:nvSpPr>
          <p:cNvPr id="26" name="コンテンツ プレースホルダー 2">
            <a:extLst>
              <a:ext uri="{FF2B5EF4-FFF2-40B4-BE49-F238E27FC236}">
                <a16:creationId xmlns:a16="http://schemas.microsoft.com/office/drawing/2014/main" id="{DC85C318-37F9-47BC-8CDE-3F33192C7071}"/>
              </a:ext>
            </a:extLst>
          </p:cNvPr>
          <p:cNvSpPr txBox="1">
            <a:spLocks/>
          </p:cNvSpPr>
          <p:nvPr/>
        </p:nvSpPr>
        <p:spPr>
          <a:xfrm>
            <a:off x="9279693" y="2143248"/>
            <a:ext cx="2555830" cy="358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ja-JP" sz="1400" err="1">
                <a:latin typeface="+mj-lt"/>
                <a:ea typeface="Meiryo UI"/>
              </a:rPr>
              <a:t>XGBoost</a:t>
            </a:r>
            <a:r>
              <a:rPr lang="en-US" altLang="ja-JP" sz="1400">
                <a:latin typeface="+mj-lt"/>
                <a:ea typeface="Meiryo UI"/>
              </a:rPr>
              <a:t> model is chosen</a:t>
            </a:r>
            <a:endParaRPr lang="en-US" altLang="ja-JP" sz="1400">
              <a:latin typeface="+mj-lt"/>
            </a:endParaRPr>
          </a:p>
        </p:txBody>
      </p:sp>
      <p:sp>
        <p:nvSpPr>
          <p:cNvPr id="2" name="コンテンツ プレースホルダー 2">
            <a:extLst>
              <a:ext uri="{FF2B5EF4-FFF2-40B4-BE49-F238E27FC236}">
                <a16:creationId xmlns:a16="http://schemas.microsoft.com/office/drawing/2014/main" id="{740F3163-DA24-4D18-8C7A-456B8F06BF7B}"/>
              </a:ext>
            </a:extLst>
          </p:cNvPr>
          <p:cNvSpPr txBox="1">
            <a:spLocks/>
          </p:cNvSpPr>
          <p:nvPr/>
        </p:nvSpPr>
        <p:spPr>
          <a:xfrm>
            <a:off x="694482" y="2231782"/>
            <a:ext cx="2039784" cy="2391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*co: continuous</a:t>
            </a:r>
            <a:endParaRPr lang="en-US" altLang="ja-JP" sz="1000">
              <a:latin typeface="+mj-lt"/>
              <a:ea typeface="Meiryo U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635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7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>
                <a:ea typeface="Meiryo UI"/>
                <a:cs typeface="Arial"/>
              </a:rPr>
              <a:t>Overall Score in Test Set – Actual vs. Prediction, by models</a:t>
            </a:r>
            <a:endParaRPr lang="en-US">
              <a:cs typeface="Arial"/>
            </a:endParaRPr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sp>
        <p:nvSpPr>
          <p:cNvPr id="12" name="コンテンツ プレースホルダー 2">
            <a:extLst>
              <a:ext uri="{FF2B5EF4-FFF2-40B4-BE49-F238E27FC236}">
                <a16:creationId xmlns:a16="http://schemas.microsoft.com/office/drawing/2014/main" id="{84106720-FFD5-443F-9D03-3E3697554A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52224"/>
            <a:ext cx="10972800" cy="20379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 err="1">
                <a:solidFill>
                  <a:schemeClr val="accent2">
                    <a:lumMod val="75000"/>
                  </a:schemeClr>
                </a:solidFill>
                <a:ea typeface="Meiryo UI"/>
              </a:rPr>
              <a:t>XGBoost</a:t>
            </a:r>
            <a:r>
              <a:rPr lang="en-US" altLang="ja-JP">
                <a:solidFill>
                  <a:schemeClr val="accent2">
                    <a:lumMod val="75000"/>
                  </a:schemeClr>
                </a:solidFill>
                <a:ea typeface="Meiryo UI"/>
              </a:rPr>
              <a:t> almost completely predicted overall ratings for almost all players.</a:t>
            </a:r>
            <a:endParaRPr lang="en-US" altLang="ja-JP" sz="2800">
              <a:solidFill>
                <a:schemeClr val="accent2">
                  <a:lumMod val="75000"/>
                </a:schemeClr>
              </a:solidFill>
              <a:cs typeface="Arial"/>
            </a:endParaRPr>
          </a:p>
          <a:p>
            <a:pPr>
              <a:lnSpc>
                <a:spcPct val="100000"/>
              </a:lnSpc>
              <a:spcBef>
                <a:spcPts val="1000"/>
              </a:spcBef>
              <a:buClr>
                <a:srgbClr val="1D6294"/>
              </a:buClr>
            </a:pPr>
            <a:r>
              <a:rPr lang="en-US" altLang="ja-JP">
                <a:solidFill>
                  <a:schemeClr val="accent2">
                    <a:lumMod val="75000"/>
                  </a:schemeClr>
                </a:solidFill>
                <a:latin typeface="Arial"/>
                <a:ea typeface="Meiryo UI"/>
                <a:cs typeface="Arial"/>
              </a:rPr>
              <a:t>LASSO especially misses the highest range, potentially due to its linear equation form.</a:t>
            </a:r>
            <a:endParaRPr lang="en-US" altLang="ja-JP">
              <a:solidFill>
                <a:schemeClr val="accent2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D6294"/>
              </a:buClr>
            </a:pPr>
            <a:endParaRPr lang="en-US" altLang="ja-JP">
              <a:solidFill>
                <a:srgbClr val="1D6295"/>
              </a:solidFill>
              <a:latin typeface="Arial"/>
              <a:cs typeface="Arial"/>
            </a:endParaRPr>
          </a:p>
          <a:p>
            <a:pPr marL="571500" lvl="1" indent="-3429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Meiryo UI"/>
              <a:cs typeface="Arial"/>
            </a:endParaRPr>
          </a:p>
          <a:p>
            <a:pPr marL="685800" lvl="1" indent="-457200">
              <a:lnSpc>
                <a:spcPct val="100000"/>
              </a:lnSpc>
              <a:buClr>
                <a:srgbClr val="1D6294"/>
              </a:buClr>
            </a:pPr>
            <a:endParaRPr lang="en-US" altLang="ja-JP" sz="2200">
              <a:solidFill>
                <a:srgbClr val="1D6295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buClr>
                <a:srgbClr val="1CADE4">
                  <a:lumMod val="75000"/>
                </a:srgbClr>
              </a:buClr>
            </a:pPr>
            <a:endParaRPr lang="ja-JP" altLang="en-US" sz="24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F86C5572-A6AC-4E1D-A22D-9DE28CC6EE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4087" y="1753930"/>
            <a:ext cx="11650915" cy="4369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65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046067-68E6-401B-863C-8582CD52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046067-68E6-401B-863C-8582CD52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099213-71EC-45C5-BD5D-D58FEC5542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B0AAEFB1-18A8-4DE6-9E19-C835D37DC5AD}"/>
              </a:ext>
            </a:extLst>
          </p:cNvPr>
          <p:cNvSpPr txBox="1">
            <a:spLocks/>
          </p:cNvSpPr>
          <p:nvPr/>
        </p:nvSpPr>
        <p:spPr>
          <a:xfrm>
            <a:off x="609600" y="2433341"/>
            <a:ext cx="9601200" cy="1703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>
                    <a:lumMod val="75000"/>
                  </a:schemeClr>
                </a:solidFill>
                <a:latin typeface="+mj-lt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3600" dirty="0">
                <a:ea typeface="Meiryo UI"/>
              </a:rPr>
              <a:t>3. Part B – Classify Player Position</a:t>
            </a:r>
            <a:endParaRPr lang="ja-JP" altLang="en-US" sz="3600" dirty="0">
              <a:ea typeface="Meiryo UI"/>
            </a:endParaRPr>
          </a:p>
        </p:txBody>
      </p:sp>
      <p:sp>
        <p:nvSpPr>
          <p:cNvPr id="6" name="スライド番号プレースホルダー 3">
            <a:extLst>
              <a:ext uri="{FF2B5EF4-FFF2-40B4-BE49-F238E27FC236}">
                <a16:creationId xmlns:a16="http://schemas.microsoft.com/office/drawing/2014/main" id="{201CB08B-D685-4D9A-88DD-14845C67B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5311" y="6289679"/>
            <a:ext cx="918882" cy="222436"/>
          </a:xfrm>
        </p:spPr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8</a:t>
            </a:fld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67134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D75854-4415-4E17-AEAB-9E0A9330A693}"/>
              </a:ext>
            </a:extLst>
          </p:cNvPr>
          <p:cNvSpPr/>
          <p:nvPr/>
        </p:nvSpPr>
        <p:spPr>
          <a:xfrm>
            <a:off x="519574" y="1380171"/>
            <a:ext cx="4564959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AD04C7-0C8F-4035-872E-44DC49B1B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BAD04C7-0C8F-4035-872E-44DC49B1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9DD90-AA53-4E2B-BFA1-E5F958A9E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Meiryo UI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DD5D3B0-A83A-4184-952F-4DD24324D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E31375A4-56A4-47D6-9801-1991572033F7}" type="slidenum">
              <a:rPr lang="en-US" altLang="ja-JP" noProof="0" smtClean="0"/>
              <a:t>9</a:t>
            </a:fld>
            <a:endParaRPr lang="ja-JP" altLang="en-US" noProof="0"/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35FA8620-D846-4771-A1E8-0A4D52766F3A}"/>
              </a:ext>
            </a:extLst>
          </p:cNvPr>
          <p:cNvSpPr txBox="1">
            <a:spLocks/>
          </p:cNvSpPr>
          <p:nvPr/>
        </p:nvSpPr>
        <p:spPr>
          <a:xfrm>
            <a:off x="314283" y="260537"/>
            <a:ext cx="11425098" cy="9501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endParaRPr lang="ja-JP" altLang="en-US">
              <a:solidFill>
                <a:schemeClr val="accent2"/>
              </a:solidFill>
            </a:endParaRPr>
          </a:p>
        </p:txBody>
      </p:sp>
      <p:sp>
        <p:nvSpPr>
          <p:cNvPr id="8" name="タイトル 7">
            <a:extLst>
              <a:ext uri="{FF2B5EF4-FFF2-40B4-BE49-F238E27FC236}">
                <a16:creationId xmlns:a16="http://schemas.microsoft.com/office/drawing/2014/main" id="{8877635F-823A-4ABD-B484-DE8588AA4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48578"/>
            <a:ext cx="10972800" cy="508292"/>
          </a:xfrm>
        </p:spPr>
        <p:txBody>
          <a:bodyPr>
            <a:normAutofit fontScale="90000"/>
          </a:bodyPr>
          <a:lstStyle/>
          <a:p>
            <a:r>
              <a:rPr lang="en-US"/>
              <a:t>Methodology</a:t>
            </a:r>
          </a:p>
        </p:txBody>
      </p:sp>
      <p:sp>
        <p:nvSpPr>
          <p:cNvPr id="36" name="コンテンツ プレースホルダー 2">
            <a:extLst>
              <a:ext uri="{FF2B5EF4-FFF2-40B4-BE49-F238E27FC236}">
                <a16:creationId xmlns:a16="http://schemas.microsoft.com/office/drawing/2014/main" id="{949C1BAC-E1AF-4842-A4C7-431168FB9C94}"/>
              </a:ext>
            </a:extLst>
          </p:cNvPr>
          <p:cNvSpPr txBox="1">
            <a:spLocks/>
          </p:cNvSpPr>
          <p:nvPr/>
        </p:nvSpPr>
        <p:spPr>
          <a:xfrm>
            <a:off x="1949366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Pre-processing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4941536-0BCB-4D42-A7CD-265416A355F5}"/>
              </a:ext>
            </a:extLst>
          </p:cNvPr>
          <p:cNvGrpSpPr/>
          <p:nvPr/>
        </p:nvGrpSpPr>
        <p:grpSpPr>
          <a:xfrm>
            <a:off x="5149304" y="1547842"/>
            <a:ext cx="635435" cy="4391646"/>
            <a:chOff x="5773968" y="1609048"/>
            <a:chExt cx="581860" cy="4409366"/>
          </a:xfrm>
        </p:grpSpPr>
        <p:sp>
          <p:nvSpPr>
            <p:cNvPr id="38" name="Isosceles Triangle 27">
              <a:extLst>
                <a:ext uri="{FF2B5EF4-FFF2-40B4-BE49-F238E27FC236}">
                  <a16:creationId xmlns:a16="http://schemas.microsoft.com/office/drawing/2014/main" id="{1FCDA89A-B033-473C-808A-71719FE5AABD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5">
              <a:extLst>
                <a:ext uri="{FF2B5EF4-FFF2-40B4-BE49-F238E27FC236}">
                  <a16:creationId xmlns:a16="http://schemas.microsoft.com/office/drawing/2014/main" id="{A37F9732-0DF4-42F8-B779-2263C0A6A08B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54" name="Rectangle 6">
            <a:extLst>
              <a:ext uri="{FF2B5EF4-FFF2-40B4-BE49-F238E27FC236}">
                <a16:creationId xmlns:a16="http://schemas.microsoft.com/office/drawing/2014/main" id="{61FFCF64-BE59-4FD4-88D9-876E67372C29}"/>
              </a:ext>
            </a:extLst>
          </p:cNvPr>
          <p:cNvSpPr/>
          <p:nvPr/>
        </p:nvSpPr>
        <p:spPr>
          <a:xfrm>
            <a:off x="5815164" y="1380171"/>
            <a:ext cx="2597936" cy="47212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コンテンツ プレースホルダー 2">
            <a:extLst>
              <a:ext uri="{FF2B5EF4-FFF2-40B4-BE49-F238E27FC236}">
                <a16:creationId xmlns:a16="http://schemas.microsoft.com/office/drawing/2014/main" id="{FF035B74-720A-4EBA-ABA2-41D034780A79}"/>
              </a:ext>
            </a:extLst>
          </p:cNvPr>
          <p:cNvSpPr txBox="1">
            <a:spLocks/>
          </p:cNvSpPr>
          <p:nvPr/>
        </p:nvSpPr>
        <p:spPr>
          <a:xfrm>
            <a:off x="6172840" y="1084244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  <a:ea typeface="Meiryo UI"/>
              </a:rPr>
              <a:t>Model creation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300BE465-19DF-4E6A-AE00-B648FDFC4F8E}"/>
              </a:ext>
            </a:extLst>
          </p:cNvPr>
          <p:cNvSpPr/>
          <p:nvPr/>
        </p:nvSpPr>
        <p:spPr>
          <a:xfrm>
            <a:off x="5993282" y="1760045"/>
            <a:ext cx="2268676" cy="670435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24C009A9-940D-4226-96E3-F00415B1A58D}"/>
              </a:ext>
            </a:extLst>
          </p:cNvPr>
          <p:cNvSpPr txBox="1"/>
          <p:nvPr/>
        </p:nvSpPr>
        <p:spPr>
          <a:xfrm>
            <a:off x="6125625" y="1949551"/>
            <a:ext cx="87749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Logistic </a:t>
            </a:r>
            <a:endParaRPr lang="en-US" sz="1200" b="1">
              <a:cs typeface="Arial"/>
            </a:endParaRPr>
          </a:p>
        </p:txBody>
      </p:sp>
      <p:sp>
        <p:nvSpPr>
          <p:cNvPr id="65" name="コンテンツ プレースホルダー 2">
            <a:extLst>
              <a:ext uri="{FF2B5EF4-FFF2-40B4-BE49-F238E27FC236}">
                <a16:creationId xmlns:a16="http://schemas.microsoft.com/office/drawing/2014/main" id="{C1F255B2-CE5E-463F-B469-E08F8D900E9F}"/>
              </a:ext>
            </a:extLst>
          </p:cNvPr>
          <p:cNvSpPr txBox="1">
            <a:spLocks/>
          </p:cNvSpPr>
          <p:nvPr/>
        </p:nvSpPr>
        <p:spPr>
          <a:xfrm>
            <a:off x="6000329" y="1428417"/>
            <a:ext cx="1085714" cy="226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</a:rPr>
              <a:t>Model type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6" name="コンテンツ プレースホルダー 2">
            <a:extLst>
              <a:ext uri="{FF2B5EF4-FFF2-40B4-BE49-F238E27FC236}">
                <a16:creationId xmlns:a16="http://schemas.microsoft.com/office/drawing/2014/main" id="{1CF9105A-41A7-47DF-B52B-D7C8B99A6D52}"/>
              </a:ext>
            </a:extLst>
          </p:cNvPr>
          <p:cNvSpPr txBox="1">
            <a:spLocks/>
          </p:cNvSpPr>
          <p:nvPr/>
        </p:nvSpPr>
        <p:spPr>
          <a:xfrm>
            <a:off x="6961632" y="1431244"/>
            <a:ext cx="1369248" cy="2086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Tuning parameters</a:t>
            </a:r>
            <a:endParaRPr lang="ja-JP" altLang="en-US" sz="10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0" name="四角形: 角を丸くする 59">
            <a:extLst>
              <a:ext uri="{FF2B5EF4-FFF2-40B4-BE49-F238E27FC236}">
                <a16:creationId xmlns:a16="http://schemas.microsoft.com/office/drawing/2014/main" id="{3BD99CDE-6CE6-451E-9589-5060FA553EF8}"/>
              </a:ext>
            </a:extLst>
          </p:cNvPr>
          <p:cNvSpPr/>
          <p:nvPr/>
        </p:nvSpPr>
        <p:spPr>
          <a:xfrm>
            <a:off x="6001791" y="5181733"/>
            <a:ext cx="2273931" cy="66988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3B87171A-2363-4AB8-9D32-85F1EEC1BE62}"/>
              </a:ext>
            </a:extLst>
          </p:cNvPr>
          <p:cNvSpPr txBox="1"/>
          <p:nvPr/>
        </p:nvSpPr>
        <p:spPr>
          <a:xfrm>
            <a:off x="6115116" y="5277901"/>
            <a:ext cx="87749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Random Forest</a:t>
            </a:r>
            <a:endParaRPr lang="en-US" sz="1200" b="1">
              <a:cs typeface="Arial"/>
            </a:endParaRPr>
          </a:p>
        </p:txBody>
      </p:sp>
      <p:sp>
        <p:nvSpPr>
          <p:cNvPr id="82" name="四角形: 角を丸くする 81">
            <a:extLst>
              <a:ext uri="{FF2B5EF4-FFF2-40B4-BE49-F238E27FC236}">
                <a16:creationId xmlns:a16="http://schemas.microsoft.com/office/drawing/2014/main" id="{A87BA4E3-E235-4001-AF64-A21E6FD8B366}"/>
              </a:ext>
            </a:extLst>
          </p:cNvPr>
          <p:cNvSpPr/>
          <p:nvPr/>
        </p:nvSpPr>
        <p:spPr>
          <a:xfrm>
            <a:off x="7120955" y="5298164"/>
            <a:ext cx="1099691" cy="4624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Tree depth</a:t>
            </a:r>
            <a:endParaRPr lang="en-US" sz="1000">
              <a:ea typeface="+mn-lt"/>
              <a:cs typeface="+mn-lt"/>
            </a:endParaRPr>
          </a:p>
        </p:txBody>
      </p:sp>
      <p:sp>
        <p:nvSpPr>
          <p:cNvPr id="90" name="コンテンツ プレースホルダー 2">
            <a:extLst>
              <a:ext uri="{FF2B5EF4-FFF2-40B4-BE49-F238E27FC236}">
                <a16:creationId xmlns:a16="http://schemas.microsoft.com/office/drawing/2014/main" id="{DAC0203C-7B4D-4B9C-A042-B91F9D4D5DC3}"/>
              </a:ext>
            </a:extLst>
          </p:cNvPr>
          <p:cNvSpPr txBox="1">
            <a:spLocks/>
          </p:cNvSpPr>
          <p:nvPr/>
        </p:nvSpPr>
        <p:spPr>
          <a:xfrm>
            <a:off x="9724019" y="690106"/>
            <a:ext cx="1882584" cy="267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ja-JP" sz="1400" b="1" u="sng">
                <a:solidFill>
                  <a:schemeClr val="accent2"/>
                </a:solidFill>
                <a:latin typeface="+mj-lt"/>
              </a:rPr>
              <a:t>Final model</a:t>
            </a:r>
            <a:endParaRPr lang="ja-JP" altLang="en-US" sz="1400" b="1" u="sng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8" name="四角形: 角を丸くする 97">
            <a:extLst>
              <a:ext uri="{FF2B5EF4-FFF2-40B4-BE49-F238E27FC236}">
                <a16:creationId xmlns:a16="http://schemas.microsoft.com/office/drawing/2014/main" id="{448B4E81-7592-4A38-B99F-B8F004AE6DE1}"/>
              </a:ext>
            </a:extLst>
          </p:cNvPr>
          <p:cNvSpPr/>
          <p:nvPr/>
        </p:nvSpPr>
        <p:spPr>
          <a:xfrm>
            <a:off x="7073658" y="1856789"/>
            <a:ext cx="1099692" cy="465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Ridge-like regularization</a:t>
            </a:r>
          </a:p>
        </p:txBody>
      </p:sp>
      <p:sp>
        <p:nvSpPr>
          <p:cNvPr id="121" name="Rectangle 6">
            <a:extLst>
              <a:ext uri="{FF2B5EF4-FFF2-40B4-BE49-F238E27FC236}">
                <a16:creationId xmlns:a16="http://schemas.microsoft.com/office/drawing/2014/main" id="{C6103FAC-FB25-4813-92D9-92812518F61B}"/>
              </a:ext>
            </a:extLst>
          </p:cNvPr>
          <p:cNvSpPr/>
          <p:nvPr/>
        </p:nvSpPr>
        <p:spPr>
          <a:xfrm>
            <a:off x="9086792" y="1444728"/>
            <a:ext cx="2937558" cy="2227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3" name="グループ化 92">
            <a:extLst>
              <a:ext uri="{FF2B5EF4-FFF2-40B4-BE49-F238E27FC236}">
                <a16:creationId xmlns:a16="http://schemas.microsoft.com/office/drawing/2014/main" id="{08A673F7-0A42-408A-84C7-619F4BA08399}"/>
              </a:ext>
            </a:extLst>
          </p:cNvPr>
          <p:cNvGrpSpPr/>
          <p:nvPr/>
        </p:nvGrpSpPr>
        <p:grpSpPr>
          <a:xfrm>
            <a:off x="2109254" y="145311"/>
            <a:ext cx="7973492" cy="186646"/>
            <a:chOff x="1366858" y="28603"/>
            <a:chExt cx="7973492" cy="186646"/>
          </a:xfrm>
        </p:grpSpPr>
        <p:sp>
          <p:nvSpPr>
            <p:cNvPr id="106" name="Rectangle: Rounded Corners 8">
              <a:extLst>
                <a:ext uri="{FF2B5EF4-FFF2-40B4-BE49-F238E27FC236}">
                  <a16:creationId xmlns:a16="http://schemas.microsoft.com/office/drawing/2014/main" id="{E04B01C4-44E9-40F0-A853-9F507A82BC4C}"/>
                </a:ext>
              </a:extLst>
            </p:cNvPr>
            <p:cNvSpPr/>
            <p:nvPr/>
          </p:nvSpPr>
          <p:spPr>
            <a:xfrm>
              <a:off x="136685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Overview</a:t>
              </a:r>
            </a:p>
          </p:txBody>
        </p:sp>
        <p:sp>
          <p:nvSpPr>
            <p:cNvPr id="114" name="Rectangle: Rounded Corners 8">
              <a:extLst>
                <a:ext uri="{FF2B5EF4-FFF2-40B4-BE49-F238E27FC236}">
                  <a16:creationId xmlns:a16="http://schemas.microsoft.com/office/drawing/2014/main" id="{0E815614-DED2-445B-A3E0-62391BEB252D}"/>
                </a:ext>
              </a:extLst>
            </p:cNvPr>
            <p:cNvSpPr/>
            <p:nvPr/>
          </p:nvSpPr>
          <p:spPr>
            <a:xfrm>
              <a:off x="2977616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A</a:t>
              </a:r>
            </a:p>
          </p:txBody>
        </p:sp>
        <p:sp>
          <p:nvSpPr>
            <p:cNvPr id="116" name="Rectangle: Rounded Corners 8">
              <a:extLst>
                <a:ext uri="{FF2B5EF4-FFF2-40B4-BE49-F238E27FC236}">
                  <a16:creationId xmlns:a16="http://schemas.microsoft.com/office/drawing/2014/main" id="{059EA749-ABFA-48B9-80BA-3A0B0201C7AA}"/>
                </a:ext>
              </a:extLst>
            </p:cNvPr>
            <p:cNvSpPr/>
            <p:nvPr/>
          </p:nvSpPr>
          <p:spPr>
            <a:xfrm>
              <a:off x="4588374" y="28603"/>
              <a:ext cx="1534512" cy="1866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B</a:t>
              </a:r>
            </a:p>
          </p:txBody>
        </p:sp>
        <p:sp>
          <p:nvSpPr>
            <p:cNvPr id="118" name="Rectangle: Rounded Corners 8">
              <a:extLst>
                <a:ext uri="{FF2B5EF4-FFF2-40B4-BE49-F238E27FC236}">
                  <a16:creationId xmlns:a16="http://schemas.microsoft.com/office/drawing/2014/main" id="{D8F9319A-9FFE-433B-81BC-BB0EE12036FE}"/>
                </a:ext>
              </a:extLst>
            </p:cNvPr>
            <p:cNvSpPr/>
            <p:nvPr/>
          </p:nvSpPr>
          <p:spPr>
            <a:xfrm>
              <a:off x="6199132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C</a:t>
              </a:r>
            </a:p>
          </p:txBody>
        </p:sp>
        <p:sp>
          <p:nvSpPr>
            <p:cNvPr id="119" name="Rectangle: Rounded Corners 8">
              <a:extLst>
                <a:ext uri="{FF2B5EF4-FFF2-40B4-BE49-F238E27FC236}">
                  <a16:creationId xmlns:a16="http://schemas.microsoft.com/office/drawing/2014/main" id="{5A05931F-DE07-4A16-8A18-E77FBE212BB8}"/>
                </a:ext>
              </a:extLst>
            </p:cNvPr>
            <p:cNvSpPr/>
            <p:nvPr/>
          </p:nvSpPr>
          <p:spPr>
            <a:xfrm>
              <a:off x="7805838" y="28603"/>
              <a:ext cx="1534512" cy="186646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Part D</a:t>
              </a:r>
            </a:p>
          </p:txBody>
        </p:sp>
      </p:grpSp>
      <p:cxnSp>
        <p:nvCxnSpPr>
          <p:cNvPr id="15" name="直線コネクタ 116">
            <a:extLst>
              <a:ext uri="{FF2B5EF4-FFF2-40B4-BE49-F238E27FC236}">
                <a16:creationId xmlns:a16="http://schemas.microsoft.com/office/drawing/2014/main" id="{2B0E3D47-F849-4155-B087-42C7B39D3509}"/>
              </a:ext>
            </a:extLst>
          </p:cNvPr>
          <p:cNvCxnSpPr>
            <a:cxnSpLocks/>
          </p:cNvCxnSpPr>
          <p:nvPr/>
        </p:nvCxnSpPr>
        <p:spPr>
          <a:xfrm>
            <a:off x="2862193" y="1547840"/>
            <a:ext cx="4157" cy="442137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コンテンツ プレースホルダー 2">
            <a:extLst>
              <a:ext uri="{FF2B5EF4-FFF2-40B4-BE49-F238E27FC236}">
                <a16:creationId xmlns:a16="http://schemas.microsoft.com/office/drawing/2014/main" id="{1EBE3FC3-8820-4563-BCBD-BA9872BAC380}"/>
              </a:ext>
            </a:extLst>
          </p:cNvPr>
          <p:cNvSpPr txBox="1">
            <a:spLocks/>
          </p:cNvSpPr>
          <p:nvPr/>
        </p:nvSpPr>
        <p:spPr>
          <a:xfrm>
            <a:off x="2972270" y="1498431"/>
            <a:ext cx="2124427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Data processing flow: </a:t>
            </a:r>
          </a:p>
          <a:p>
            <a:pPr marL="0" indent="0">
              <a:spcBef>
                <a:spcPts val="400"/>
              </a:spcBef>
              <a:buNone/>
            </a:pPr>
            <a:endParaRPr lang="en-US" sz="1100">
              <a:latin typeface="Arial"/>
              <a:ea typeface="Meiryo UI"/>
              <a:cs typeface="Arial"/>
            </a:endParaRPr>
          </a:p>
          <a:p>
            <a:pPr marL="0" indent="0">
              <a:buNone/>
            </a:pPr>
            <a:endParaRPr lang="en-US" altLang="ja-JP" sz="1100" b="1">
              <a:latin typeface="+mj-lt"/>
              <a:ea typeface="Meiryo UI"/>
              <a:cs typeface="Arial"/>
            </a:endParaRPr>
          </a:p>
        </p:txBody>
      </p:sp>
      <p:sp>
        <p:nvSpPr>
          <p:cNvPr id="19" name="四角形: 角を丸くする 63">
            <a:extLst>
              <a:ext uri="{FF2B5EF4-FFF2-40B4-BE49-F238E27FC236}">
                <a16:creationId xmlns:a16="http://schemas.microsoft.com/office/drawing/2014/main" id="{35A304CE-3E8B-4A07-931E-7549EF25AFE2}"/>
              </a:ext>
            </a:extLst>
          </p:cNvPr>
          <p:cNvSpPr/>
          <p:nvPr/>
        </p:nvSpPr>
        <p:spPr>
          <a:xfrm>
            <a:off x="3004133" y="1889383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Creation of new grouped category of players</a:t>
            </a:r>
            <a:endParaRPr lang="en-US" sz="1000" b="1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Forward, </a:t>
            </a:r>
            <a:r>
              <a:rPr lang="en-US" sz="1000" err="1">
                <a:solidFill>
                  <a:schemeClr val="tx1"/>
                </a:solidFill>
                <a:cs typeface="Arial"/>
              </a:rPr>
              <a:t>Midfilder</a:t>
            </a:r>
            <a:r>
              <a:rPr lang="en-US" sz="1000">
                <a:solidFill>
                  <a:schemeClr val="tx1"/>
                </a:solidFill>
                <a:cs typeface="Arial"/>
              </a:rPr>
              <a:t>, Defender and Goalkeeper.</a:t>
            </a: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E1FB600C-D32F-4036-AD81-BF549B8002F7}"/>
              </a:ext>
            </a:extLst>
          </p:cNvPr>
          <p:cNvSpPr/>
          <p:nvPr/>
        </p:nvSpPr>
        <p:spPr>
          <a:xfrm>
            <a:off x="3710558" y="2772553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7" name="四角形: 角を丸くする 63">
            <a:extLst>
              <a:ext uri="{FF2B5EF4-FFF2-40B4-BE49-F238E27FC236}">
                <a16:creationId xmlns:a16="http://schemas.microsoft.com/office/drawing/2014/main" id="{57DE242A-D634-4995-98A5-999B35774B19}"/>
              </a:ext>
            </a:extLst>
          </p:cNvPr>
          <p:cNvSpPr/>
          <p:nvPr/>
        </p:nvSpPr>
        <p:spPr>
          <a:xfrm>
            <a:off x="3004133" y="3191444"/>
            <a:ext cx="1899733" cy="10453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Drop of Variables that bias the sample</a:t>
            </a:r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Ex.) goal keeping abilities </a:t>
            </a:r>
          </a:p>
          <a:p>
            <a:pPr algn="ctr"/>
            <a:r>
              <a:rPr lang="en-US" sz="1000">
                <a:solidFill>
                  <a:schemeClr val="tx1"/>
                </a:solidFill>
                <a:cs typeface="Arial"/>
              </a:rPr>
              <a:t>only available for goalkeepers and missing values for the res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48" name="Arrow: Down 147">
            <a:extLst>
              <a:ext uri="{FF2B5EF4-FFF2-40B4-BE49-F238E27FC236}">
                <a16:creationId xmlns:a16="http://schemas.microsoft.com/office/drawing/2014/main" id="{9CE6960C-E0D6-4332-943A-785E7457EB6F}"/>
              </a:ext>
            </a:extLst>
          </p:cNvPr>
          <p:cNvSpPr/>
          <p:nvPr/>
        </p:nvSpPr>
        <p:spPr>
          <a:xfrm>
            <a:off x="3710558" y="4323134"/>
            <a:ext cx="487325" cy="425303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 b="1">
              <a:solidFill>
                <a:schemeClr val="tx1"/>
              </a:solidFill>
            </a:endParaRPr>
          </a:p>
        </p:txBody>
      </p:sp>
      <p:sp>
        <p:nvSpPr>
          <p:cNvPr id="149" name="四角形: 角を丸くする 63">
            <a:extLst>
              <a:ext uri="{FF2B5EF4-FFF2-40B4-BE49-F238E27FC236}">
                <a16:creationId xmlns:a16="http://schemas.microsoft.com/office/drawing/2014/main" id="{7D7FBDB5-CBAB-4022-897E-790F5D1DF1E4}"/>
              </a:ext>
            </a:extLst>
          </p:cNvPr>
          <p:cNvSpPr/>
          <p:nvPr/>
        </p:nvSpPr>
        <p:spPr>
          <a:xfrm>
            <a:off x="3004133" y="4857638"/>
            <a:ext cx="1899733" cy="7338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 Classification</a:t>
            </a:r>
          </a:p>
        </p:txBody>
      </p:sp>
      <p:sp>
        <p:nvSpPr>
          <p:cNvPr id="156" name="四角形: 角を丸くする 101">
            <a:extLst>
              <a:ext uri="{FF2B5EF4-FFF2-40B4-BE49-F238E27FC236}">
                <a16:creationId xmlns:a16="http://schemas.microsoft.com/office/drawing/2014/main" id="{7CFDC072-2D75-4871-A864-9A2E5D9DD62D}"/>
              </a:ext>
            </a:extLst>
          </p:cNvPr>
          <p:cNvSpPr/>
          <p:nvPr/>
        </p:nvSpPr>
        <p:spPr>
          <a:xfrm>
            <a:off x="9190315" y="2024622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istic</a:t>
            </a:r>
          </a:p>
        </p:txBody>
      </p:sp>
      <p:sp>
        <p:nvSpPr>
          <p:cNvPr id="159" name="コンテンツ プレースホルダー 2">
            <a:extLst>
              <a:ext uri="{FF2B5EF4-FFF2-40B4-BE49-F238E27FC236}">
                <a16:creationId xmlns:a16="http://schemas.microsoft.com/office/drawing/2014/main" id="{24CBC3D8-4814-4254-B8F9-0BD9DDA9C2BD}"/>
              </a:ext>
            </a:extLst>
          </p:cNvPr>
          <p:cNvSpPr txBox="1">
            <a:spLocks/>
          </p:cNvSpPr>
          <p:nvPr/>
        </p:nvSpPr>
        <p:spPr>
          <a:xfrm>
            <a:off x="9974949" y="1765786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      Test         Accuracy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25" name="テキスト ボックス 73">
            <a:extLst>
              <a:ext uri="{FF2B5EF4-FFF2-40B4-BE49-F238E27FC236}">
                <a16:creationId xmlns:a16="http://schemas.microsoft.com/office/drawing/2014/main" id="{EF6831AC-42DB-4DCD-B859-3737CCF869EA}"/>
              </a:ext>
            </a:extLst>
          </p:cNvPr>
          <p:cNvSpPr txBox="1"/>
          <p:nvPr/>
        </p:nvSpPr>
        <p:spPr>
          <a:xfrm>
            <a:off x="9938552" y="207082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1</a:t>
            </a:r>
            <a:endParaRPr lang="en-US">
              <a:cs typeface="Arial"/>
            </a:endParaRPr>
          </a:p>
        </p:txBody>
      </p:sp>
      <p:sp>
        <p:nvSpPr>
          <p:cNvPr id="162" name="テキスト ボックス 73">
            <a:extLst>
              <a:ext uri="{FF2B5EF4-FFF2-40B4-BE49-F238E27FC236}">
                <a16:creationId xmlns:a16="http://schemas.microsoft.com/office/drawing/2014/main" id="{3FF417EC-DE95-4AF0-99DD-63802B35B232}"/>
              </a:ext>
            </a:extLst>
          </p:cNvPr>
          <p:cNvSpPr txBox="1"/>
          <p:nvPr/>
        </p:nvSpPr>
        <p:spPr>
          <a:xfrm>
            <a:off x="9928042" y="239101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38</a:t>
            </a:r>
            <a:endParaRPr lang="en-US">
              <a:cs typeface="Arial"/>
            </a:endParaRPr>
          </a:p>
        </p:txBody>
      </p:sp>
      <p:sp>
        <p:nvSpPr>
          <p:cNvPr id="163" name="テキスト ボックス 73">
            <a:extLst>
              <a:ext uri="{FF2B5EF4-FFF2-40B4-BE49-F238E27FC236}">
                <a16:creationId xmlns:a16="http://schemas.microsoft.com/office/drawing/2014/main" id="{1B4BEB1D-3600-4F98-9368-B2F731593DC2}"/>
              </a:ext>
            </a:extLst>
          </p:cNvPr>
          <p:cNvSpPr txBox="1"/>
          <p:nvPr/>
        </p:nvSpPr>
        <p:spPr>
          <a:xfrm>
            <a:off x="9938552" y="270657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962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67" name="コンテンツ プレースホルダー 2">
            <a:extLst>
              <a:ext uri="{FF2B5EF4-FFF2-40B4-BE49-F238E27FC236}">
                <a16:creationId xmlns:a16="http://schemas.microsoft.com/office/drawing/2014/main" id="{2BE81E32-875E-4B7E-9091-46D7E846BCE7}"/>
              </a:ext>
            </a:extLst>
          </p:cNvPr>
          <p:cNvSpPr txBox="1">
            <a:spLocks/>
          </p:cNvSpPr>
          <p:nvPr/>
        </p:nvSpPr>
        <p:spPr>
          <a:xfrm>
            <a:off x="9335227" y="1496061"/>
            <a:ext cx="2551354" cy="2296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Evaluation metrics: Grouped Positions</a:t>
            </a:r>
            <a:endParaRPr lang="en-US" altLang="ja-JP">
              <a:solidFill>
                <a:schemeClr val="accent2"/>
              </a:solidFill>
            </a:endParaRPr>
          </a:p>
        </p:txBody>
      </p:sp>
      <p:sp>
        <p:nvSpPr>
          <p:cNvPr id="26" name="コンテンツ プレースホルダー 2">
            <a:extLst>
              <a:ext uri="{FF2B5EF4-FFF2-40B4-BE49-F238E27FC236}">
                <a16:creationId xmlns:a16="http://schemas.microsoft.com/office/drawing/2014/main" id="{DC85C318-37F9-47BC-8CDE-3F33192C7071}"/>
              </a:ext>
            </a:extLst>
          </p:cNvPr>
          <p:cNvSpPr txBox="1">
            <a:spLocks/>
          </p:cNvSpPr>
          <p:nvPr/>
        </p:nvSpPr>
        <p:spPr>
          <a:xfrm>
            <a:off x="9248162" y="960834"/>
            <a:ext cx="2555830" cy="358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altLang="ja-JP" sz="1400">
                <a:latin typeface="+mj-lt"/>
                <a:ea typeface="Meiryo UI"/>
              </a:rPr>
              <a:t>AdaBoost model is chosen</a:t>
            </a: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6CE5D545-27BF-4A65-BBA3-A9074244AF1C}"/>
              </a:ext>
            </a:extLst>
          </p:cNvPr>
          <p:cNvGrpSpPr/>
          <p:nvPr/>
        </p:nvGrpSpPr>
        <p:grpSpPr>
          <a:xfrm>
            <a:off x="8507420" y="1547842"/>
            <a:ext cx="635435" cy="4391646"/>
            <a:chOff x="5773968" y="1609048"/>
            <a:chExt cx="581860" cy="4409366"/>
          </a:xfrm>
        </p:grpSpPr>
        <p:sp>
          <p:nvSpPr>
            <p:cNvPr id="153" name="Isosceles Triangle 27">
              <a:extLst>
                <a:ext uri="{FF2B5EF4-FFF2-40B4-BE49-F238E27FC236}">
                  <a16:creationId xmlns:a16="http://schemas.microsoft.com/office/drawing/2014/main" id="{14A8BA67-E10C-43CB-9B33-3246B4BA0681}"/>
                </a:ext>
              </a:extLst>
            </p:cNvPr>
            <p:cNvSpPr/>
            <p:nvPr/>
          </p:nvSpPr>
          <p:spPr>
            <a:xfrm rot="5400000">
              <a:off x="3860213" y="3530798"/>
              <a:ext cx="4409366" cy="565865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TextBox 35">
              <a:extLst>
                <a:ext uri="{FF2B5EF4-FFF2-40B4-BE49-F238E27FC236}">
                  <a16:creationId xmlns:a16="http://schemas.microsoft.com/office/drawing/2014/main" id="{AF15BC72-A281-45DD-B097-F537DD00337C}"/>
                </a:ext>
              </a:extLst>
            </p:cNvPr>
            <p:cNvSpPr txBox="1"/>
            <p:nvPr/>
          </p:nvSpPr>
          <p:spPr>
            <a:xfrm rot="5400000">
              <a:off x="5515334" y="3533884"/>
              <a:ext cx="1099127" cy="581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/>
            </a:p>
          </p:txBody>
        </p:sp>
      </p:grpSp>
      <p:sp>
        <p:nvSpPr>
          <p:cNvPr id="80" name="四角形: 角を丸くする 17">
            <a:extLst>
              <a:ext uri="{FF2B5EF4-FFF2-40B4-BE49-F238E27FC236}">
                <a16:creationId xmlns:a16="http://schemas.microsoft.com/office/drawing/2014/main" id="{F78139B7-7239-4798-9E30-B9A1C08AC8C2}"/>
              </a:ext>
            </a:extLst>
          </p:cNvPr>
          <p:cNvSpPr/>
          <p:nvPr/>
        </p:nvSpPr>
        <p:spPr>
          <a:xfrm>
            <a:off x="912307" y="2068234"/>
            <a:ext cx="1758125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layer position (mc)</a:t>
            </a:r>
          </a:p>
        </p:txBody>
      </p:sp>
      <p:sp>
        <p:nvSpPr>
          <p:cNvPr id="9" name="コンテンツ プレースホルダー 2">
            <a:extLst>
              <a:ext uri="{FF2B5EF4-FFF2-40B4-BE49-F238E27FC236}">
                <a16:creationId xmlns:a16="http://schemas.microsoft.com/office/drawing/2014/main" id="{55ACED7A-93A0-4C30-BF1F-10848979F3A6}"/>
              </a:ext>
            </a:extLst>
          </p:cNvPr>
          <p:cNvSpPr txBox="1">
            <a:spLocks/>
          </p:cNvSpPr>
          <p:nvPr/>
        </p:nvSpPr>
        <p:spPr>
          <a:xfrm>
            <a:off x="544504" y="1498431"/>
            <a:ext cx="2461125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arget variable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Player position</a:t>
            </a:r>
            <a:endParaRPr lang="en-US" altLang="ja-JP" sz="1100">
              <a:latin typeface="+mj-lt"/>
              <a:ea typeface="Meiryo UI"/>
              <a:cs typeface="Arial"/>
            </a:endParaRPr>
          </a:p>
        </p:txBody>
      </p:sp>
      <p:sp>
        <p:nvSpPr>
          <p:cNvPr id="16" name="コンテンツ プレースホルダー 2">
            <a:extLst>
              <a:ext uri="{FF2B5EF4-FFF2-40B4-BE49-F238E27FC236}">
                <a16:creationId xmlns:a16="http://schemas.microsoft.com/office/drawing/2014/main" id="{2DEEBE71-5EA3-4B92-8D03-A424C9500881}"/>
              </a:ext>
            </a:extLst>
          </p:cNvPr>
          <p:cNvSpPr txBox="1">
            <a:spLocks/>
          </p:cNvSpPr>
          <p:nvPr/>
        </p:nvSpPr>
        <p:spPr>
          <a:xfrm>
            <a:off x="737135" y="2384732"/>
            <a:ext cx="2039784" cy="2391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>
                <a:latin typeface="+mj-lt"/>
                <a:ea typeface="Meiryo UI"/>
              </a:rPr>
              <a:t>* mc: multiclass</a:t>
            </a:r>
            <a:endParaRPr lang="en-US" altLang="ja-JP" sz="1000">
              <a:latin typeface="+mj-lt"/>
              <a:ea typeface="Meiryo UI"/>
              <a:cs typeface="Arial"/>
            </a:endParaRPr>
          </a:p>
        </p:txBody>
      </p:sp>
      <p:sp>
        <p:nvSpPr>
          <p:cNvPr id="18" name="コンテンツ プレースホルダー 2">
            <a:extLst>
              <a:ext uri="{FF2B5EF4-FFF2-40B4-BE49-F238E27FC236}">
                <a16:creationId xmlns:a16="http://schemas.microsoft.com/office/drawing/2014/main" id="{04923706-2FC3-4008-BDAA-D5B3934421C1}"/>
              </a:ext>
            </a:extLst>
          </p:cNvPr>
          <p:cNvSpPr txBox="1">
            <a:spLocks/>
          </p:cNvSpPr>
          <p:nvPr/>
        </p:nvSpPr>
        <p:spPr>
          <a:xfrm>
            <a:off x="586545" y="3310541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raining dataset: 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ll players in FIFA 2019 dataset</a:t>
            </a:r>
            <a:endParaRPr lang="ja-JP"/>
          </a:p>
        </p:txBody>
      </p:sp>
      <p:sp>
        <p:nvSpPr>
          <p:cNvPr id="20" name="四角形: 角を丸くする 48">
            <a:extLst>
              <a:ext uri="{FF2B5EF4-FFF2-40B4-BE49-F238E27FC236}">
                <a16:creationId xmlns:a16="http://schemas.microsoft.com/office/drawing/2014/main" id="{761A3F0D-8E8D-4D85-8BE2-91B793CA88DC}"/>
              </a:ext>
            </a:extLst>
          </p:cNvPr>
          <p:cNvSpPr/>
          <p:nvPr/>
        </p:nvSpPr>
        <p:spPr>
          <a:xfrm>
            <a:off x="956120" y="3789141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FIFA 2019 dataset</a:t>
            </a:r>
          </a:p>
        </p:txBody>
      </p:sp>
      <p:sp>
        <p:nvSpPr>
          <p:cNvPr id="21" name="コンテンツ プレースホルダー 2">
            <a:extLst>
              <a:ext uri="{FF2B5EF4-FFF2-40B4-BE49-F238E27FC236}">
                <a16:creationId xmlns:a16="http://schemas.microsoft.com/office/drawing/2014/main" id="{C9D74743-415F-4BFC-8290-AC3F37A11AD6}"/>
              </a:ext>
            </a:extLst>
          </p:cNvPr>
          <p:cNvSpPr txBox="1">
            <a:spLocks/>
          </p:cNvSpPr>
          <p:nvPr/>
        </p:nvSpPr>
        <p:spPr>
          <a:xfrm>
            <a:off x="612820" y="4703161"/>
            <a:ext cx="2597936" cy="3493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1100" b="1">
                <a:latin typeface="+mj-lt"/>
                <a:ea typeface="Meiryo UI"/>
              </a:rPr>
              <a:t>Test dataset: </a:t>
            </a:r>
            <a:endParaRPr lang="ja-JP" altLang="en-US" sz="1100">
              <a:latin typeface="+mj-lt"/>
              <a:ea typeface="Meiryo UI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altLang="ja-JP" sz="1100">
                <a:latin typeface="+mj-lt"/>
                <a:ea typeface="Meiryo UI"/>
              </a:rPr>
              <a:t>All players in FIFA 2020 dataset</a:t>
            </a:r>
            <a:endParaRPr lang="ja-JP"/>
          </a:p>
        </p:txBody>
      </p:sp>
      <p:sp>
        <p:nvSpPr>
          <p:cNvPr id="23" name="四角形: 角を丸くする 48">
            <a:extLst>
              <a:ext uri="{FF2B5EF4-FFF2-40B4-BE49-F238E27FC236}">
                <a16:creationId xmlns:a16="http://schemas.microsoft.com/office/drawing/2014/main" id="{5106A669-DF52-46ED-A9F4-3579EA42DA68}"/>
              </a:ext>
            </a:extLst>
          </p:cNvPr>
          <p:cNvSpPr/>
          <p:nvPr/>
        </p:nvSpPr>
        <p:spPr>
          <a:xfrm>
            <a:off x="982395" y="5181761"/>
            <a:ext cx="1600898" cy="2378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FIFA 2020 dataset</a:t>
            </a:r>
          </a:p>
        </p:txBody>
      </p:sp>
      <p:sp>
        <p:nvSpPr>
          <p:cNvPr id="95" name="四角形: 角を丸くする 55">
            <a:extLst>
              <a:ext uri="{FF2B5EF4-FFF2-40B4-BE49-F238E27FC236}">
                <a16:creationId xmlns:a16="http://schemas.microsoft.com/office/drawing/2014/main" id="{3A234D28-F460-49F7-80BE-0CFD8A478F13}"/>
              </a:ext>
            </a:extLst>
          </p:cNvPr>
          <p:cNvSpPr/>
          <p:nvPr/>
        </p:nvSpPr>
        <p:spPr>
          <a:xfrm>
            <a:off x="5988026" y="2684955"/>
            <a:ext cx="2268676" cy="670435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9" name="四角形: 角を丸くする 97">
            <a:extLst>
              <a:ext uri="{FF2B5EF4-FFF2-40B4-BE49-F238E27FC236}">
                <a16:creationId xmlns:a16="http://schemas.microsoft.com/office/drawing/2014/main" id="{D66A789D-1B4C-44AE-BEE5-6DB0ABD47B65}"/>
              </a:ext>
            </a:extLst>
          </p:cNvPr>
          <p:cNvSpPr/>
          <p:nvPr/>
        </p:nvSpPr>
        <p:spPr>
          <a:xfrm>
            <a:off x="7078912" y="2755423"/>
            <a:ext cx="1099692" cy="465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ea typeface="+mn-lt"/>
                <a:cs typeface="+mn-lt"/>
              </a:rPr>
              <a:t>Tree depth</a:t>
            </a:r>
            <a:endParaRPr lang="en-US" sz="1000">
              <a:ea typeface="+mn-lt"/>
              <a:cs typeface="+mn-lt"/>
            </a:endParaRPr>
          </a:p>
        </p:txBody>
      </p:sp>
      <p:sp>
        <p:nvSpPr>
          <p:cNvPr id="100" name="テキスト ボックス 61">
            <a:extLst>
              <a:ext uri="{FF2B5EF4-FFF2-40B4-BE49-F238E27FC236}">
                <a16:creationId xmlns:a16="http://schemas.microsoft.com/office/drawing/2014/main" id="{4703F9F3-9033-46CC-8837-A2D612B01590}"/>
              </a:ext>
            </a:extLst>
          </p:cNvPr>
          <p:cNvSpPr txBox="1"/>
          <p:nvPr/>
        </p:nvSpPr>
        <p:spPr>
          <a:xfrm>
            <a:off x="6115114" y="2769580"/>
            <a:ext cx="87749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Decision Tree </a:t>
            </a:r>
            <a:endParaRPr lang="en-US"/>
          </a:p>
        </p:txBody>
      </p:sp>
      <p:sp>
        <p:nvSpPr>
          <p:cNvPr id="101" name="四角形: 角を丸くする 55">
            <a:extLst>
              <a:ext uri="{FF2B5EF4-FFF2-40B4-BE49-F238E27FC236}">
                <a16:creationId xmlns:a16="http://schemas.microsoft.com/office/drawing/2014/main" id="{A3340DA8-B383-43B0-9378-E81F763ABF2B}"/>
              </a:ext>
            </a:extLst>
          </p:cNvPr>
          <p:cNvSpPr/>
          <p:nvPr/>
        </p:nvSpPr>
        <p:spPr>
          <a:xfrm>
            <a:off x="5982770" y="3557313"/>
            <a:ext cx="2268676" cy="670435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2" name="四角形: 角を丸くする 97">
            <a:extLst>
              <a:ext uri="{FF2B5EF4-FFF2-40B4-BE49-F238E27FC236}">
                <a16:creationId xmlns:a16="http://schemas.microsoft.com/office/drawing/2014/main" id="{39D1900C-45C5-4EE8-926A-BA5BFC12432B}"/>
              </a:ext>
            </a:extLst>
          </p:cNvPr>
          <p:cNvSpPr/>
          <p:nvPr/>
        </p:nvSpPr>
        <p:spPr>
          <a:xfrm>
            <a:off x="7063146" y="3654057"/>
            <a:ext cx="1099692" cy="46534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ea typeface="+mn-lt"/>
                <a:cs typeface="+mn-lt"/>
              </a:rPr>
              <a:t>Tree depth (same as Decision Tree)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3" name="テキスト ボックス 61">
            <a:extLst>
              <a:ext uri="{FF2B5EF4-FFF2-40B4-BE49-F238E27FC236}">
                <a16:creationId xmlns:a16="http://schemas.microsoft.com/office/drawing/2014/main" id="{D4EEEF92-B900-450A-80C0-E983510C5DDD}"/>
              </a:ext>
            </a:extLst>
          </p:cNvPr>
          <p:cNvSpPr txBox="1"/>
          <p:nvPr/>
        </p:nvSpPr>
        <p:spPr>
          <a:xfrm>
            <a:off x="6067818" y="3768062"/>
            <a:ext cx="951068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/>
              <a:t>AdaBoost </a:t>
            </a:r>
            <a:endParaRPr lang="en-US">
              <a:cs typeface="Arial"/>
            </a:endParaRPr>
          </a:p>
        </p:txBody>
      </p:sp>
      <p:sp>
        <p:nvSpPr>
          <p:cNvPr id="105" name="テキスト ボックス 73">
            <a:extLst>
              <a:ext uri="{FF2B5EF4-FFF2-40B4-BE49-F238E27FC236}">
                <a16:creationId xmlns:a16="http://schemas.microsoft.com/office/drawing/2014/main" id="{E2B6FE30-09C0-4E7A-AD67-0E1D2CD3A9B5}"/>
              </a:ext>
            </a:extLst>
          </p:cNvPr>
          <p:cNvSpPr txBox="1"/>
          <p:nvPr/>
        </p:nvSpPr>
        <p:spPr>
          <a:xfrm>
            <a:off x="9928041" y="301662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8</a:t>
            </a:r>
            <a:endParaRPr lang="en-US">
              <a:cs typeface="Arial"/>
            </a:endParaRPr>
          </a:p>
        </p:txBody>
      </p:sp>
      <p:sp>
        <p:nvSpPr>
          <p:cNvPr id="68" name="テキスト ボックス 73">
            <a:extLst>
              <a:ext uri="{FF2B5EF4-FFF2-40B4-BE49-F238E27FC236}">
                <a16:creationId xmlns:a16="http://schemas.microsoft.com/office/drawing/2014/main" id="{60539670-634C-4ADD-B67E-A42D59584D7F}"/>
              </a:ext>
            </a:extLst>
          </p:cNvPr>
          <p:cNvSpPr txBox="1"/>
          <p:nvPr/>
        </p:nvSpPr>
        <p:spPr>
          <a:xfrm>
            <a:off x="9928039" y="333193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8</a:t>
            </a:r>
            <a:endParaRPr lang="en-US">
              <a:cs typeface="Arial"/>
            </a:endParaRPr>
          </a:p>
        </p:txBody>
      </p:sp>
      <p:sp>
        <p:nvSpPr>
          <p:cNvPr id="69" name="テキスト ボックス 73">
            <a:extLst>
              <a:ext uri="{FF2B5EF4-FFF2-40B4-BE49-F238E27FC236}">
                <a16:creationId xmlns:a16="http://schemas.microsoft.com/office/drawing/2014/main" id="{EA747E35-5ED0-48D9-A892-04AA71A0A83B}"/>
              </a:ext>
            </a:extLst>
          </p:cNvPr>
          <p:cNvSpPr txBox="1"/>
          <p:nvPr/>
        </p:nvSpPr>
        <p:spPr>
          <a:xfrm>
            <a:off x="10663765" y="207081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6</a:t>
            </a:r>
            <a:endParaRPr lang="en-US">
              <a:cs typeface="Arial"/>
            </a:endParaRPr>
          </a:p>
        </p:txBody>
      </p:sp>
      <p:sp>
        <p:nvSpPr>
          <p:cNvPr id="71" name="コンテンツ プレースホルダー 2">
            <a:extLst>
              <a:ext uri="{FF2B5EF4-FFF2-40B4-BE49-F238E27FC236}">
                <a16:creationId xmlns:a16="http://schemas.microsoft.com/office/drawing/2014/main" id="{BC4E027A-22D4-4490-A69E-C18922AB0323}"/>
              </a:ext>
            </a:extLst>
          </p:cNvPr>
          <p:cNvSpPr txBox="1">
            <a:spLocks/>
          </p:cNvSpPr>
          <p:nvPr/>
        </p:nvSpPr>
        <p:spPr>
          <a:xfrm>
            <a:off x="10668631" y="1797316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Precision</a:t>
            </a:r>
            <a:endParaRPr lang="en-US"/>
          </a:p>
        </p:txBody>
      </p:sp>
      <p:sp>
        <p:nvSpPr>
          <p:cNvPr id="72" name="コンテンツ プレースホルダー 2">
            <a:extLst>
              <a:ext uri="{FF2B5EF4-FFF2-40B4-BE49-F238E27FC236}">
                <a16:creationId xmlns:a16="http://schemas.microsoft.com/office/drawing/2014/main" id="{716F41D5-FBA4-4ED5-B0F4-AE70D21CF12E}"/>
              </a:ext>
            </a:extLst>
          </p:cNvPr>
          <p:cNvSpPr txBox="1">
            <a:spLocks/>
          </p:cNvSpPr>
          <p:nvPr/>
        </p:nvSpPr>
        <p:spPr>
          <a:xfrm>
            <a:off x="11299251" y="1797316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Recall</a:t>
            </a:r>
            <a:endParaRPr lang="en-US"/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A048A113-73FD-4879-B278-BFA69163701D}"/>
              </a:ext>
            </a:extLst>
          </p:cNvPr>
          <p:cNvCxnSpPr/>
          <p:nvPr/>
        </p:nvCxnSpPr>
        <p:spPr>
          <a:xfrm flipH="1">
            <a:off x="10762594" y="1747346"/>
            <a:ext cx="15765" cy="1912882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CA1D479F-6F56-4406-AD6F-EFA5D55A6A12}"/>
              </a:ext>
            </a:extLst>
          </p:cNvPr>
          <p:cNvCxnSpPr>
            <a:cxnSpLocks/>
          </p:cNvCxnSpPr>
          <p:nvPr/>
        </p:nvCxnSpPr>
        <p:spPr>
          <a:xfrm flipH="1">
            <a:off x="11435255" y="1700049"/>
            <a:ext cx="5255" cy="196543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4541892F-DA5D-4E42-B8C5-7305D6CDCA3D}"/>
              </a:ext>
            </a:extLst>
          </p:cNvPr>
          <p:cNvSpPr txBox="1"/>
          <p:nvPr/>
        </p:nvSpPr>
        <p:spPr>
          <a:xfrm>
            <a:off x="10674274" y="2391384"/>
            <a:ext cx="88759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46</a:t>
            </a:r>
            <a:endParaRPr lang="en-US">
              <a:cs typeface="Arial"/>
            </a:endParaRPr>
          </a:p>
        </p:txBody>
      </p:sp>
      <p:sp>
        <p:nvSpPr>
          <p:cNvPr id="75" name="テキスト ボックス 73">
            <a:extLst>
              <a:ext uri="{FF2B5EF4-FFF2-40B4-BE49-F238E27FC236}">
                <a16:creationId xmlns:a16="http://schemas.microsoft.com/office/drawing/2014/main" id="{D2F53DE9-4AAA-4C26-898B-6B8FA1C40951}"/>
              </a:ext>
            </a:extLst>
          </p:cNvPr>
          <p:cNvSpPr txBox="1"/>
          <p:nvPr/>
        </p:nvSpPr>
        <p:spPr>
          <a:xfrm>
            <a:off x="10663765" y="269092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967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76" name="テキスト ボックス 73">
            <a:extLst>
              <a:ext uri="{FF2B5EF4-FFF2-40B4-BE49-F238E27FC236}">
                <a16:creationId xmlns:a16="http://schemas.microsoft.com/office/drawing/2014/main" id="{3629C4CB-335B-44F9-B0D3-704B335A3753}"/>
              </a:ext>
            </a:extLst>
          </p:cNvPr>
          <p:cNvSpPr txBox="1"/>
          <p:nvPr/>
        </p:nvSpPr>
        <p:spPr>
          <a:xfrm>
            <a:off x="10674275" y="301675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9</a:t>
            </a:r>
            <a:endParaRPr lang="en-US">
              <a:cs typeface="Arial"/>
            </a:endParaRPr>
          </a:p>
        </p:txBody>
      </p:sp>
      <p:sp>
        <p:nvSpPr>
          <p:cNvPr id="77" name="テキスト ボックス 73">
            <a:extLst>
              <a:ext uri="{FF2B5EF4-FFF2-40B4-BE49-F238E27FC236}">
                <a16:creationId xmlns:a16="http://schemas.microsoft.com/office/drawing/2014/main" id="{C9D45AB7-5568-4B36-8E11-CE5CB28F8CAD}"/>
              </a:ext>
            </a:extLst>
          </p:cNvPr>
          <p:cNvSpPr txBox="1"/>
          <p:nvPr/>
        </p:nvSpPr>
        <p:spPr>
          <a:xfrm>
            <a:off x="10663765" y="332155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62</a:t>
            </a:r>
            <a:endParaRPr lang="en-US">
              <a:cs typeface="Arial"/>
            </a:endParaRPr>
          </a:p>
        </p:txBody>
      </p:sp>
      <p:sp>
        <p:nvSpPr>
          <p:cNvPr id="78" name="テキスト ボックス 73">
            <a:extLst>
              <a:ext uri="{FF2B5EF4-FFF2-40B4-BE49-F238E27FC236}">
                <a16:creationId xmlns:a16="http://schemas.microsoft.com/office/drawing/2014/main" id="{4A9C2018-7AC7-4135-BDDD-9EC40F081189}"/>
              </a:ext>
            </a:extLst>
          </p:cNvPr>
          <p:cNvSpPr txBox="1"/>
          <p:nvPr/>
        </p:nvSpPr>
        <p:spPr>
          <a:xfrm>
            <a:off x="11299641" y="206030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58</a:t>
            </a:r>
            <a:endParaRPr lang="en-US">
              <a:cs typeface="Arial"/>
            </a:endParaRPr>
          </a:p>
        </p:txBody>
      </p:sp>
      <p:sp>
        <p:nvSpPr>
          <p:cNvPr id="79" name="テキスト ボックス 73">
            <a:extLst>
              <a:ext uri="{FF2B5EF4-FFF2-40B4-BE49-F238E27FC236}">
                <a16:creationId xmlns:a16="http://schemas.microsoft.com/office/drawing/2014/main" id="{DFF2386B-C237-4343-8C54-E101831E13DB}"/>
              </a:ext>
            </a:extLst>
          </p:cNvPr>
          <p:cNvSpPr txBox="1"/>
          <p:nvPr/>
        </p:nvSpPr>
        <p:spPr>
          <a:xfrm>
            <a:off x="11299641" y="2391384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45</a:t>
            </a:r>
            <a:endParaRPr lang="en-US">
              <a:cs typeface="Arial"/>
            </a:endParaRPr>
          </a:p>
        </p:txBody>
      </p:sp>
      <p:sp>
        <p:nvSpPr>
          <p:cNvPr id="83" name="四角形: 角を丸くする 101">
            <a:extLst>
              <a:ext uri="{FF2B5EF4-FFF2-40B4-BE49-F238E27FC236}">
                <a16:creationId xmlns:a16="http://schemas.microsoft.com/office/drawing/2014/main" id="{7DF94FFA-3B72-4EB7-9BA8-DDDF96C30E7B}"/>
              </a:ext>
            </a:extLst>
          </p:cNvPr>
          <p:cNvSpPr/>
          <p:nvPr/>
        </p:nvSpPr>
        <p:spPr>
          <a:xfrm>
            <a:off x="9190314" y="2350442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Decision Tree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4" name="四角形: 角を丸くする 101">
            <a:extLst>
              <a:ext uri="{FF2B5EF4-FFF2-40B4-BE49-F238E27FC236}">
                <a16:creationId xmlns:a16="http://schemas.microsoft.com/office/drawing/2014/main" id="{FF3DF9FB-B8A5-4BCB-A0A0-99B7B3EA8993}"/>
              </a:ext>
            </a:extLst>
          </p:cNvPr>
          <p:cNvSpPr/>
          <p:nvPr/>
        </p:nvSpPr>
        <p:spPr>
          <a:xfrm>
            <a:off x="9185058" y="2681517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AdaBoost</a:t>
            </a:r>
            <a:endParaRPr lang="en-US"/>
          </a:p>
        </p:txBody>
      </p:sp>
      <p:sp>
        <p:nvSpPr>
          <p:cNvPr id="85" name="四角形: 角を丸くする 101">
            <a:extLst>
              <a:ext uri="{FF2B5EF4-FFF2-40B4-BE49-F238E27FC236}">
                <a16:creationId xmlns:a16="http://schemas.microsoft.com/office/drawing/2014/main" id="{18C899C0-362C-4B6D-87A3-72F44452234C}"/>
              </a:ext>
            </a:extLst>
          </p:cNvPr>
          <p:cNvSpPr/>
          <p:nvPr/>
        </p:nvSpPr>
        <p:spPr>
          <a:xfrm>
            <a:off x="9190313" y="2991572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 err="1">
                <a:solidFill>
                  <a:schemeClr val="tx1"/>
                </a:solidFill>
              </a:rPr>
              <a:t>XGBoost</a:t>
            </a:r>
            <a:endParaRPr lang="en-US" err="1"/>
          </a:p>
        </p:txBody>
      </p:sp>
      <p:sp>
        <p:nvSpPr>
          <p:cNvPr id="86" name="四角形: 角を丸くする 101">
            <a:extLst>
              <a:ext uri="{FF2B5EF4-FFF2-40B4-BE49-F238E27FC236}">
                <a16:creationId xmlns:a16="http://schemas.microsoft.com/office/drawing/2014/main" id="{E631F576-157F-4191-AE50-B5E523137CE8}"/>
              </a:ext>
            </a:extLst>
          </p:cNvPr>
          <p:cNvSpPr/>
          <p:nvPr/>
        </p:nvSpPr>
        <p:spPr>
          <a:xfrm>
            <a:off x="9190312" y="3312137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Random Fores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92" name="Rectangle 6">
            <a:extLst>
              <a:ext uri="{FF2B5EF4-FFF2-40B4-BE49-F238E27FC236}">
                <a16:creationId xmlns:a16="http://schemas.microsoft.com/office/drawing/2014/main" id="{BA198BE7-78E7-4724-8CD4-0782BDB5FF2D}"/>
              </a:ext>
            </a:extLst>
          </p:cNvPr>
          <p:cNvSpPr/>
          <p:nvPr/>
        </p:nvSpPr>
        <p:spPr>
          <a:xfrm>
            <a:off x="9102557" y="3788535"/>
            <a:ext cx="2937558" cy="22270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テキスト ボックス 73">
            <a:extLst>
              <a:ext uri="{FF2B5EF4-FFF2-40B4-BE49-F238E27FC236}">
                <a16:creationId xmlns:a16="http://schemas.microsoft.com/office/drawing/2014/main" id="{7C950B8F-E1AA-4B8A-B0DB-BF5C13D63ADC}"/>
              </a:ext>
            </a:extLst>
          </p:cNvPr>
          <p:cNvSpPr txBox="1"/>
          <p:nvPr/>
        </p:nvSpPr>
        <p:spPr>
          <a:xfrm>
            <a:off x="11299640" y="270143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967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89" name="テキスト ボックス 73">
            <a:extLst>
              <a:ext uri="{FF2B5EF4-FFF2-40B4-BE49-F238E27FC236}">
                <a16:creationId xmlns:a16="http://schemas.microsoft.com/office/drawing/2014/main" id="{6067B8A7-CC97-44D4-918F-E719FCBCD7B4}"/>
              </a:ext>
            </a:extLst>
          </p:cNvPr>
          <p:cNvSpPr txBox="1"/>
          <p:nvPr/>
        </p:nvSpPr>
        <p:spPr>
          <a:xfrm>
            <a:off x="11299639" y="3016749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67</a:t>
            </a:r>
            <a:endParaRPr lang="en-US">
              <a:cs typeface="Arial"/>
            </a:endParaRPr>
          </a:p>
        </p:txBody>
      </p:sp>
      <p:sp>
        <p:nvSpPr>
          <p:cNvPr id="91" name="テキスト ボックス 73">
            <a:extLst>
              <a:ext uri="{FF2B5EF4-FFF2-40B4-BE49-F238E27FC236}">
                <a16:creationId xmlns:a16="http://schemas.microsoft.com/office/drawing/2014/main" id="{39C6C29C-0D5D-4EFD-BC81-08D304897932}"/>
              </a:ext>
            </a:extLst>
          </p:cNvPr>
          <p:cNvSpPr txBox="1"/>
          <p:nvPr/>
        </p:nvSpPr>
        <p:spPr>
          <a:xfrm>
            <a:off x="11299638" y="331103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963</a:t>
            </a:r>
            <a:endParaRPr lang="en-US">
              <a:cs typeface="Arial"/>
            </a:endParaRPr>
          </a:p>
        </p:txBody>
      </p:sp>
      <p:sp>
        <p:nvSpPr>
          <p:cNvPr id="94" name="四角形: 角を丸くする 101">
            <a:extLst>
              <a:ext uri="{FF2B5EF4-FFF2-40B4-BE49-F238E27FC236}">
                <a16:creationId xmlns:a16="http://schemas.microsoft.com/office/drawing/2014/main" id="{B114EC15-F235-4CBB-9BC4-F2416ABCED99}"/>
              </a:ext>
            </a:extLst>
          </p:cNvPr>
          <p:cNvSpPr/>
          <p:nvPr/>
        </p:nvSpPr>
        <p:spPr>
          <a:xfrm>
            <a:off x="9195570" y="4352663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istic</a:t>
            </a:r>
          </a:p>
        </p:txBody>
      </p:sp>
      <p:sp>
        <p:nvSpPr>
          <p:cNvPr id="96" name="四角形: 角を丸くする 101">
            <a:extLst>
              <a:ext uri="{FF2B5EF4-FFF2-40B4-BE49-F238E27FC236}">
                <a16:creationId xmlns:a16="http://schemas.microsoft.com/office/drawing/2014/main" id="{6573A8D0-4216-4182-B6AF-934845041BB6}"/>
              </a:ext>
            </a:extLst>
          </p:cNvPr>
          <p:cNvSpPr/>
          <p:nvPr/>
        </p:nvSpPr>
        <p:spPr>
          <a:xfrm>
            <a:off x="9195569" y="4678483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Decision Tree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97" name="四角形: 角を丸くする 101">
            <a:extLst>
              <a:ext uri="{FF2B5EF4-FFF2-40B4-BE49-F238E27FC236}">
                <a16:creationId xmlns:a16="http://schemas.microsoft.com/office/drawing/2014/main" id="{938DB4BD-D930-47D4-B1D1-38CEA7E82D27}"/>
              </a:ext>
            </a:extLst>
          </p:cNvPr>
          <p:cNvSpPr/>
          <p:nvPr/>
        </p:nvSpPr>
        <p:spPr>
          <a:xfrm>
            <a:off x="9190313" y="5009558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AdaBoost</a:t>
            </a:r>
            <a:endParaRPr lang="en-US"/>
          </a:p>
        </p:txBody>
      </p:sp>
      <p:sp>
        <p:nvSpPr>
          <p:cNvPr id="107" name="四角形: 角を丸くする 101">
            <a:extLst>
              <a:ext uri="{FF2B5EF4-FFF2-40B4-BE49-F238E27FC236}">
                <a16:creationId xmlns:a16="http://schemas.microsoft.com/office/drawing/2014/main" id="{52514A80-C4F9-4D4E-B75C-F5E46C63830A}"/>
              </a:ext>
            </a:extLst>
          </p:cNvPr>
          <p:cNvSpPr/>
          <p:nvPr/>
        </p:nvSpPr>
        <p:spPr>
          <a:xfrm>
            <a:off x="9195568" y="5319613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 err="1">
                <a:solidFill>
                  <a:schemeClr val="tx1"/>
                </a:solidFill>
              </a:rPr>
              <a:t>XGBoost</a:t>
            </a:r>
            <a:endParaRPr lang="en-US" err="1"/>
          </a:p>
        </p:txBody>
      </p:sp>
      <p:sp>
        <p:nvSpPr>
          <p:cNvPr id="108" name="四角形: 角を丸くする 101">
            <a:extLst>
              <a:ext uri="{FF2B5EF4-FFF2-40B4-BE49-F238E27FC236}">
                <a16:creationId xmlns:a16="http://schemas.microsoft.com/office/drawing/2014/main" id="{08DCA91B-CECF-45AF-BD1D-9345A69593C4}"/>
              </a:ext>
            </a:extLst>
          </p:cNvPr>
          <p:cNvSpPr/>
          <p:nvPr/>
        </p:nvSpPr>
        <p:spPr>
          <a:xfrm>
            <a:off x="9195567" y="5640178"/>
            <a:ext cx="769049" cy="273878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Random Forest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09" name="テキスト ボックス 73">
            <a:extLst>
              <a:ext uri="{FF2B5EF4-FFF2-40B4-BE49-F238E27FC236}">
                <a16:creationId xmlns:a16="http://schemas.microsoft.com/office/drawing/2014/main" id="{288E6D23-36A3-4525-854E-F37C01706037}"/>
              </a:ext>
            </a:extLst>
          </p:cNvPr>
          <p:cNvSpPr txBox="1"/>
          <p:nvPr/>
        </p:nvSpPr>
        <p:spPr>
          <a:xfrm>
            <a:off x="9901765" y="444615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65</a:t>
            </a:r>
            <a:endParaRPr lang="en-US">
              <a:cs typeface="Arial"/>
            </a:endParaRPr>
          </a:p>
        </p:txBody>
      </p:sp>
      <p:sp>
        <p:nvSpPr>
          <p:cNvPr id="110" name="テキスト ボックス 73">
            <a:extLst>
              <a:ext uri="{FF2B5EF4-FFF2-40B4-BE49-F238E27FC236}">
                <a16:creationId xmlns:a16="http://schemas.microsoft.com/office/drawing/2014/main" id="{4EDB582C-4A34-4B35-AB1F-BB84D5D86C30}"/>
              </a:ext>
            </a:extLst>
          </p:cNvPr>
          <p:cNvSpPr txBox="1"/>
          <p:nvPr/>
        </p:nvSpPr>
        <p:spPr>
          <a:xfrm>
            <a:off x="9891255" y="4698038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26</a:t>
            </a:r>
            <a:endParaRPr lang="en-US">
              <a:cs typeface="Arial"/>
            </a:endParaRPr>
          </a:p>
        </p:txBody>
      </p:sp>
      <p:sp>
        <p:nvSpPr>
          <p:cNvPr id="111" name="テキスト ボックス 73">
            <a:extLst>
              <a:ext uri="{FF2B5EF4-FFF2-40B4-BE49-F238E27FC236}">
                <a16:creationId xmlns:a16="http://schemas.microsoft.com/office/drawing/2014/main" id="{182D9F8C-9F90-41F1-AB4A-3EEAB033BBC8}"/>
              </a:ext>
            </a:extLst>
          </p:cNvPr>
          <p:cNvSpPr txBox="1"/>
          <p:nvPr/>
        </p:nvSpPr>
        <p:spPr>
          <a:xfrm>
            <a:off x="9901765" y="501359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885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12" name="テキスト ボックス 73">
            <a:extLst>
              <a:ext uri="{FF2B5EF4-FFF2-40B4-BE49-F238E27FC236}">
                <a16:creationId xmlns:a16="http://schemas.microsoft.com/office/drawing/2014/main" id="{691B4F41-676A-4CFB-A6EA-75896B008856}"/>
              </a:ext>
            </a:extLst>
          </p:cNvPr>
          <p:cNvSpPr txBox="1"/>
          <p:nvPr/>
        </p:nvSpPr>
        <p:spPr>
          <a:xfrm>
            <a:off x="9891254" y="532364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83</a:t>
            </a:r>
            <a:endParaRPr lang="en-US">
              <a:cs typeface="Arial"/>
            </a:endParaRPr>
          </a:p>
        </p:txBody>
      </p:sp>
      <p:sp>
        <p:nvSpPr>
          <p:cNvPr id="113" name="テキスト ボックス 73">
            <a:extLst>
              <a:ext uri="{FF2B5EF4-FFF2-40B4-BE49-F238E27FC236}">
                <a16:creationId xmlns:a16="http://schemas.microsoft.com/office/drawing/2014/main" id="{C3131445-6EE2-47D2-B064-DA7A91B018A0}"/>
              </a:ext>
            </a:extLst>
          </p:cNvPr>
          <p:cNvSpPr txBox="1"/>
          <p:nvPr/>
        </p:nvSpPr>
        <p:spPr>
          <a:xfrm>
            <a:off x="9891252" y="563895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68</a:t>
            </a:r>
            <a:endParaRPr lang="en-US">
              <a:cs typeface="Arial"/>
            </a:endParaRPr>
          </a:p>
        </p:txBody>
      </p:sp>
      <p:sp>
        <p:nvSpPr>
          <p:cNvPr id="115" name="テキスト ボックス 73">
            <a:extLst>
              <a:ext uri="{FF2B5EF4-FFF2-40B4-BE49-F238E27FC236}">
                <a16:creationId xmlns:a16="http://schemas.microsoft.com/office/drawing/2014/main" id="{BBB8BEC0-7987-420B-BEFF-978A6DF6B9C5}"/>
              </a:ext>
            </a:extLst>
          </p:cNvPr>
          <p:cNvSpPr txBox="1"/>
          <p:nvPr/>
        </p:nvSpPr>
        <p:spPr>
          <a:xfrm>
            <a:off x="10674275" y="4383095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83</a:t>
            </a:r>
            <a:endParaRPr lang="en-US">
              <a:cs typeface="Arial"/>
            </a:endParaRPr>
          </a:p>
        </p:txBody>
      </p:sp>
      <p:sp>
        <p:nvSpPr>
          <p:cNvPr id="117" name="テキスト ボックス 73">
            <a:extLst>
              <a:ext uri="{FF2B5EF4-FFF2-40B4-BE49-F238E27FC236}">
                <a16:creationId xmlns:a16="http://schemas.microsoft.com/office/drawing/2014/main" id="{D72CDB77-5BC7-4E26-8969-F9B059B395A3}"/>
              </a:ext>
            </a:extLst>
          </p:cNvPr>
          <p:cNvSpPr txBox="1"/>
          <p:nvPr/>
        </p:nvSpPr>
        <p:spPr>
          <a:xfrm>
            <a:off x="10663765" y="470329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687</a:t>
            </a:r>
            <a:endParaRPr lang="en-US">
              <a:cs typeface="Arial"/>
            </a:endParaRPr>
          </a:p>
        </p:txBody>
      </p:sp>
      <p:sp>
        <p:nvSpPr>
          <p:cNvPr id="120" name="テキスト ボックス 73">
            <a:extLst>
              <a:ext uri="{FF2B5EF4-FFF2-40B4-BE49-F238E27FC236}">
                <a16:creationId xmlns:a16="http://schemas.microsoft.com/office/drawing/2014/main" id="{EE551ED5-C159-4985-AD70-88B75B0C2F2D}"/>
              </a:ext>
            </a:extLst>
          </p:cNvPr>
          <p:cNvSpPr txBox="1"/>
          <p:nvPr/>
        </p:nvSpPr>
        <p:spPr>
          <a:xfrm>
            <a:off x="10700550" y="5013592"/>
            <a:ext cx="792998" cy="2591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838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22" name="テキスト ボックス 73">
            <a:extLst>
              <a:ext uri="{FF2B5EF4-FFF2-40B4-BE49-F238E27FC236}">
                <a16:creationId xmlns:a16="http://schemas.microsoft.com/office/drawing/2014/main" id="{60D93F8C-429D-40F7-A678-68A1C302BACF}"/>
              </a:ext>
            </a:extLst>
          </p:cNvPr>
          <p:cNvSpPr txBox="1"/>
          <p:nvPr/>
        </p:nvSpPr>
        <p:spPr>
          <a:xfrm>
            <a:off x="10663764" y="533941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99</a:t>
            </a:r>
            <a:endParaRPr lang="en-US">
              <a:cs typeface="Arial"/>
            </a:endParaRPr>
          </a:p>
        </p:txBody>
      </p:sp>
      <p:sp>
        <p:nvSpPr>
          <p:cNvPr id="123" name="テキスト ボックス 73">
            <a:extLst>
              <a:ext uri="{FF2B5EF4-FFF2-40B4-BE49-F238E27FC236}">
                <a16:creationId xmlns:a16="http://schemas.microsoft.com/office/drawing/2014/main" id="{A1FDFDFD-8910-4E52-AB9D-BF96660212D9}"/>
              </a:ext>
            </a:extLst>
          </p:cNvPr>
          <p:cNvSpPr txBox="1"/>
          <p:nvPr/>
        </p:nvSpPr>
        <p:spPr>
          <a:xfrm>
            <a:off x="10663762" y="564421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816</a:t>
            </a:r>
            <a:endParaRPr lang="en-US">
              <a:cs typeface="Arial"/>
            </a:endParaRPr>
          </a:p>
        </p:txBody>
      </p:sp>
      <p:sp>
        <p:nvSpPr>
          <p:cNvPr id="124" name="テキスト ボックス 73">
            <a:extLst>
              <a:ext uri="{FF2B5EF4-FFF2-40B4-BE49-F238E27FC236}">
                <a16:creationId xmlns:a16="http://schemas.microsoft.com/office/drawing/2014/main" id="{7F7F0B16-3F4A-4AB5-9AA7-82DF8B53D88C}"/>
              </a:ext>
            </a:extLst>
          </p:cNvPr>
          <p:cNvSpPr txBox="1"/>
          <p:nvPr/>
        </p:nvSpPr>
        <p:spPr>
          <a:xfrm>
            <a:off x="11331172" y="4388350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20</a:t>
            </a:r>
            <a:endParaRPr lang="en-US">
              <a:cs typeface="Arial"/>
            </a:endParaRPr>
          </a:p>
        </p:txBody>
      </p:sp>
      <p:sp>
        <p:nvSpPr>
          <p:cNvPr id="125" name="テキスト ボックス 73">
            <a:extLst>
              <a:ext uri="{FF2B5EF4-FFF2-40B4-BE49-F238E27FC236}">
                <a16:creationId xmlns:a16="http://schemas.microsoft.com/office/drawing/2014/main" id="{AD7CF785-ABBA-4FD2-999A-95264E1AAB7C}"/>
              </a:ext>
            </a:extLst>
          </p:cNvPr>
          <p:cNvSpPr txBox="1"/>
          <p:nvPr/>
        </p:nvSpPr>
        <p:spPr>
          <a:xfrm>
            <a:off x="11320662" y="470854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616</a:t>
            </a:r>
            <a:endParaRPr lang="en-US">
              <a:cs typeface="Arial"/>
            </a:endParaRPr>
          </a:p>
        </p:txBody>
      </p:sp>
      <p:sp>
        <p:nvSpPr>
          <p:cNvPr id="126" name="テキスト ボックス 73">
            <a:extLst>
              <a:ext uri="{FF2B5EF4-FFF2-40B4-BE49-F238E27FC236}">
                <a16:creationId xmlns:a16="http://schemas.microsoft.com/office/drawing/2014/main" id="{1401795D-E955-4145-95C7-02A6EB4181BD}"/>
              </a:ext>
            </a:extLst>
          </p:cNvPr>
          <p:cNvSpPr txBox="1"/>
          <p:nvPr/>
        </p:nvSpPr>
        <p:spPr>
          <a:xfrm>
            <a:off x="11331172" y="5024102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 b="1">
                <a:solidFill>
                  <a:srgbClr val="FF0000"/>
                </a:solidFill>
                <a:ea typeface="+mn-lt"/>
                <a:cs typeface="+mn-lt"/>
              </a:rPr>
              <a:t>0.753</a:t>
            </a:r>
            <a:endParaRPr lang="en-US" b="1">
              <a:solidFill>
                <a:srgbClr val="FF0000"/>
              </a:solidFill>
              <a:cs typeface="Arial"/>
            </a:endParaRPr>
          </a:p>
        </p:txBody>
      </p:sp>
      <p:sp>
        <p:nvSpPr>
          <p:cNvPr id="127" name="テキスト ボックス 73">
            <a:extLst>
              <a:ext uri="{FF2B5EF4-FFF2-40B4-BE49-F238E27FC236}">
                <a16:creationId xmlns:a16="http://schemas.microsoft.com/office/drawing/2014/main" id="{970FAC50-85A2-49CC-BB12-DD8CF45773E6}"/>
              </a:ext>
            </a:extLst>
          </p:cNvPr>
          <p:cNvSpPr txBox="1"/>
          <p:nvPr/>
        </p:nvSpPr>
        <p:spPr>
          <a:xfrm>
            <a:off x="11320661" y="533415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92</a:t>
            </a:r>
            <a:endParaRPr lang="en-US">
              <a:cs typeface="Arial"/>
            </a:endParaRPr>
          </a:p>
        </p:txBody>
      </p:sp>
      <p:sp>
        <p:nvSpPr>
          <p:cNvPr id="128" name="テキスト ボックス 73">
            <a:extLst>
              <a:ext uri="{FF2B5EF4-FFF2-40B4-BE49-F238E27FC236}">
                <a16:creationId xmlns:a16="http://schemas.microsoft.com/office/drawing/2014/main" id="{6E097AEB-F3B0-42CB-B908-217217802C04}"/>
              </a:ext>
            </a:extLst>
          </p:cNvPr>
          <p:cNvSpPr txBox="1"/>
          <p:nvPr/>
        </p:nvSpPr>
        <p:spPr>
          <a:xfrm>
            <a:off x="11320659" y="5649467"/>
            <a:ext cx="87708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050">
                <a:ea typeface="+mn-lt"/>
                <a:cs typeface="+mn-lt"/>
              </a:rPr>
              <a:t>0.715</a:t>
            </a:r>
            <a:endParaRPr lang="en-US">
              <a:cs typeface="Arial"/>
            </a:endParaRP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2FFC23D8-A6C3-48EE-913B-CD1CCEFE8121}"/>
              </a:ext>
            </a:extLst>
          </p:cNvPr>
          <p:cNvCxnSpPr>
            <a:cxnSpLocks/>
          </p:cNvCxnSpPr>
          <p:nvPr/>
        </p:nvCxnSpPr>
        <p:spPr>
          <a:xfrm flipH="1">
            <a:off x="11409965" y="4023819"/>
            <a:ext cx="10510" cy="200222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6E03C1F-8950-4852-82B9-FEDB38C465F5}"/>
              </a:ext>
            </a:extLst>
          </p:cNvPr>
          <p:cNvCxnSpPr/>
          <p:nvPr/>
        </p:nvCxnSpPr>
        <p:spPr>
          <a:xfrm>
            <a:off x="10632199" y="4018564"/>
            <a:ext cx="5257" cy="200222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コンテンツ プレースホルダー 2">
            <a:extLst>
              <a:ext uri="{FF2B5EF4-FFF2-40B4-BE49-F238E27FC236}">
                <a16:creationId xmlns:a16="http://schemas.microsoft.com/office/drawing/2014/main" id="{B59112F7-06DD-49A3-9FA8-A2B463C56F1C}"/>
              </a:ext>
            </a:extLst>
          </p:cNvPr>
          <p:cNvSpPr txBox="1">
            <a:spLocks/>
          </p:cNvSpPr>
          <p:nvPr/>
        </p:nvSpPr>
        <p:spPr>
          <a:xfrm>
            <a:off x="11315016" y="4004488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Recall</a:t>
            </a:r>
            <a:endParaRPr lang="en-US"/>
          </a:p>
        </p:txBody>
      </p:sp>
      <p:sp>
        <p:nvSpPr>
          <p:cNvPr id="132" name="コンテンツ プレースホルダー 2">
            <a:extLst>
              <a:ext uri="{FF2B5EF4-FFF2-40B4-BE49-F238E27FC236}">
                <a16:creationId xmlns:a16="http://schemas.microsoft.com/office/drawing/2014/main" id="{3C03B115-7D7F-4FE8-88D7-F71AD8C63D7B}"/>
              </a:ext>
            </a:extLst>
          </p:cNvPr>
          <p:cNvSpPr txBox="1">
            <a:spLocks/>
          </p:cNvSpPr>
          <p:nvPr/>
        </p:nvSpPr>
        <p:spPr>
          <a:xfrm>
            <a:off x="10605568" y="4020253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Precision</a:t>
            </a:r>
            <a:endParaRPr lang="en-US"/>
          </a:p>
        </p:txBody>
      </p:sp>
      <p:sp>
        <p:nvSpPr>
          <p:cNvPr id="133" name="コンテンツ プレースホルダー 2">
            <a:extLst>
              <a:ext uri="{FF2B5EF4-FFF2-40B4-BE49-F238E27FC236}">
                <a16:creationId xmlns:a16="http://schemas.microsoft.com/office/drawing/2014/main" id="{D6C27F4C-4A82-4306-AAB9-3BE0DFF9A6D2}"/>
              </a:ext>
            </a:extLst>
          </p:cNvPr>
          <p:cNvSpPr txBox="1">
            <a:spLocks/>
          </p:cNvSpPr>
          <p:nvPr/>
        </p:nvSpPr>
        <p:spPr>
          <a:xfrm>
            <a:off x="9780507" y="4025509"/>
            <a:ext cx="890356" cy="2296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      Test         Accuracy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34" name="コンテンツ プレースホルダー 2">
            <a:extLst>
              <a:ext uri="{FF2B5EF4-FFF2-40B4-BE49-F238E27FC236}">
                <a16:creationId xmlns:a16="http://schemas.microsoft.com/office/drawing/2014/main" id="{7C57AD95-27BA-467B-BCCF-5B3F07F29E7D}"/>
              </a:ext>
            </a:extLst>
          </p:cNvPr>
          <p:cNvSpPr txBox="1">
            <a:spLocks/>
          </p:cNvSpPr>
          <p:nvPr/>
        </p:nvSpPr>
        <p:spPr>
          <a:xfrm>
            <a:off x="9471861" y="3818847"/>
            <a:ext cx="2551354" cy="2296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ja-JP" sz="1000" b="1">
                <a:solidFill>
                  <a:schemeClr val="accent2"/>
                </a:solidFill>
                <a:latin typeface="+mj-lt"/>
                <a:ea typeface="Meiryo UI"/>
              </a:rPr>
              <a:t>Evaluation metrics: All Positions</a:t>
            </a:r>
            <a:endParaRPr lang="en-US" altLang="ja-JP">
              <a:solidFill>
                <a:schemeClr val="accent2"/>
              </a:solidFill>
            </a:endParaRPr>
          </a:p>
        </p:txBody>
      </p:sp>
      <p:sp>
        <p:nvSpPr>
          <p:cNvPr id="135" name="四角形: 角を丸くする 59">
            <a:extLst>
              <a:ext uri="{FF2B5EF4-FFF2-40B4-BE49-F238E27FC236}">
                <a16:creationId xmlns:a16="http://schemas.microsoft.com/office/drawing/2014/main" id="{F52962BE-A5D2-43D3-8DE0-A3E3A60DA49A}"/>
              </a:ext>
            </a:extLst>
          </p:cNvPr>
          <p:cNvSpPr/>
          <p:nvPr/>
        </p:nvSpPr>
        <p:spPr>
          <a:xfrm>
            <a:off x="5986025" y="4367181"/>
            <a:ext cx="2273931" cy="669884"/>
          </a:xfrm>
          <a:prstGeom prst="roundRect">
            <a:avLst>
              <a:gd name="adj" fmla="val 923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36" name="テキスト ボックス 62">
            <a:extLst>
              <a:ext uri="{FF2B5EF4-FFF2-40B4-BE49-F238E27FC236}">
                <a16:creationId xmlns:a16="http://schemas.microsoft.com/office/drawing/2014/main" id="{CD848B4F-EABC-4C4C-88F2-0C554AAC19D2}"/>
              </a:ext>
            </a:extLst>
          </p:cNvPr>
          <p:cNvSpPr txBox="1"/>
          <p:nvPr/>
        </p:nvSpPr>
        <p:spPr>
          <a:xfrm>
            <a:off x="6099350" y="4547432"/>
            <a:ext cx="87749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200" b="1" err="1"/>
              <a:t>XGBoost</a:t>
            </a:r>
            <a:endParaRPr lang="en-US" sz="1200" b="1" err="1">
              <a:cs typeface="Arial"/>
            </a:endParaRPr>
          </a:p>
        </p:txBody>
      </p:sp>
      <p:sp>
        <p:nvSpPr>
          <p:cNvPr id="137" name="四角形: 角を丸くする 81">
            <a:extLst>
              <a:ext uri="{FF2B5EF4-FFF2-40B4-BE49-F238E27FC236}">
                <a16:creationId xmlns:a16="http://schemas.microsoft.com/office/drawing/2014/main" id="{402721B4-10BB-4477-9DFB-67EA3262C8AE}"/>
              </a:ext>
            </a:extLst>
          </p:cNvPr>
          <p:cNvSpPr/>
          <p:nvPr/>
        </p:nvSpPr>
        <p:spPr>
          <a:xfrm>
            <a:off x="7105189" y="4483612"/>
            <a:ext cx="1099691" cy="4624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rgbClr val="000000"/>
                </a:solidFill>
              </a:rPr>
              <a:t>Hyperparameter tuning using random search with cross validation</a:t>
            </a:r>
            <a:endParaRPr lang="en-US" sz="700">
              <a:solidFill>
                <a:srgbClr val="000000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213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Rcl5lk5HNztWXrbWrL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LxfHVwgOvac2lZgRD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7QPZrMycJUt5wqjax6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ZRkC_3K5WpwBoIrUO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ひし形グリッド 16 x 9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Arial">
      <a:maj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16308534_TF03031015.potx" id="{925D1454-276A-41E5-BC80-1DB7D1488C87}" vid="{D8870C55-330C-4B67-B140-D42EB958FF23}"/>
    </a:ext>
  </a:extLst>
</a:theme>
</file>

<file path=ppt/theme/theme2.xml><?xml version="1.0" encoding="utf-8"?>
<a:theme xmlns:a="http://schemas.openxmlformats.org/drawingml/2006/main" name="Office テーマ">
  <a:themeElements>
    <a:clrScheme name="DiamondGrid">
      <a:dk1>
        <a:srgbClr val="2D2E2D"/>
      </a:dk1>
      <a:lt1>
        <a:sysClr val="window" lastClr="FFFFFF"/>
      </a:lt1>
      <a:dk2>
        <a:srgbClr val="000000"/>
      </a:dk2>
      <a:lt2>
        <a:srgbClr val="EAEAEA"/>
      </a:lt2>
      <a:accent1>
        <a:srgbClr val="D15A3E"/>
      </a:accent1>
      <a:accent2>
        <a:srgbClr val="B2B2B2"/>
      </a:accent2>
      <a:accent3>
        <a:srgbClr val="4F91A1"/>
      </a:accent3>
      <a:accent4>
        <a:srgbClr val="F0BA34"/>
      </a:accent4>
      <a:accent5>
        <a:srgbClr val="AEB733"/>
      </a:accent5>
      <a:accent6>
        <a:srgbClr val="926397"/>
      </a:accent6>
      <a:hlink>
        <a:srgbClr val="4F91A1"/>
      </a:hlink>
      <a:folHlink>
        <a:srgbClr val="808080"/>
      </a:folHlink>
    </a:clrScheme>
    <a:fontScheme name="Arial">
      <a:maj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DiamondGrid">
      <a:dk1>
        <a:srgbClr val="2D2E2D"/>
      </a:dk1>
      <a:lt1>
        <a:sysClr val="window" lastClr="FFFFFF"/>
      </a:lt1>
      <a:dk2>
        <a:srgbClr val="000000"/>
      </a:dk2>
      <a:lt2>
        <a:srgbClr val="EAEAEA"/>
      </a:lt2>
      <a:accent1>
        <a:srgbClr val="D15A3E"/>
      </a:accent1>
      <a:accent2>
        <a:srgbClr val="B2B2B2"/>
      </a:accent2>
      <a:accent3>
        <a:srgbClr val="4F91A1"/>
      </a:accent3>
      <a:accent4>
        <a:srgbClr val="F0BA34"/>
      </a:accent4>
      <a:accent5>
        <a:srgbClr val="AEB733"/>
      </a:accent5>
      <a:accent6>
        <a:srgbClr val="926397"/>
      </a:accent6>
      <a:hlink>
        <a:srgbClr val="4F91A1"/>
      </a:hlink>
      <a:folHlink>
        <a:srgbClr val="808080"/>
      </a:folHlink>
    </a:clrScheme>
    <a:fontScheme name="Arial">
      <a:maj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9D87F075600B4B8C0595948F31ED1D" ma:contentTypeVersion="13" ma:contentTypeDescription="Create a new document." ma:contentTypeScope="" ma:versionID="94eb2320ddd5daf6935b1ed5bd126f06">
  <xsd:schema xmlns:xsd="http://www.w3.org/2001/XMLSchema" xmlns:xs="http://www.w3.org/2001/XMLSchema" xmlns:p="http://schemas.microsoft.com/office/2006/metadata/properties" xmlns:ns3="f7a370e6-8173-464a-b213-f06971c5940b" xmlns:ns4="911f6833-0d27-41f3-aae9-5509ac16a88c" targetNamespace="http://schemas.microsoft.com/office/2006/metadata/properties" ma:root="true" ma:fieldsID="95c929c0b5689f26d9ec4295ffd042d3" ns3:_="" ns4:_="">
    <xsd:import namespace="f7a370e6-8173-464a-b213-f06971c5940b"/>
    <xsd:import namespace="911f6833-0d27-41f3-aae9-5509ac16a88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a370e6-8173-464a-b213-f06971c594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1f6833-0d27-41f3-aae9-5509ac16a88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420D29-52EC-46C3-9FB5-93C866438A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452F401-6F7E-494C-BEC2-E7DBF1441BC6}">
  <ds:schemaRefs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911f6833-0d27-41f3-aae9-5509ac16a88c"/>
    <ds:schemaRef ds:uri="http://purl.org/dc/elements/1.1/"/>
    <ds:schemaRef ds:uri="f7a370e6-8173-464a-b213-f06971c5940b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7BC8D9E-4CD0-4941-A2F1-94190EF9E1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a370e6-8173-464a-b213-f06971c5940b"/>
    <ds:schemaRef ds:uri="911f6833-0d27-41f3-aae9-5509ac16a8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</TotalTime>
  <Words>1711</Words>
  <Application>Microsoft Office PowerPoint</Application>
  <PresentationFormat>Widescreen</PresentationFormat>
  <Paragraphs>630</Paragraphs>
  <Slides>2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Meiryo UI</vt:lpstr>
      <vt:lpstr>Arial</vt:lpstr>
      <vt:lpstr>ひし形グリッド 16 x 9</vt:lpstr>
      <vt:lpstr>think-cell Slide</vt:lpstr>
      <vt:lpstr>PowerPoint Presentation</vt:lpstr>
      <vt:lpstr>Agenda</vt:lpstr>
      <vt:lpstr>PowerPoint Presentation</vt:lpstr>
      <vt:lpstr>Data and Selected EDA Results </vt:lpstr>
      <vt:lpstr>PowerPoint Presentation</vt:lpstr>
      <vt:lpstr>Methodology</vt:lpstr>
      <vt:lpstr>Overall Score in Test Set – Actual vs. Prediction, by models</vt:lpstr>
      <vt:lpstr>PowerPoint Presentation</vt:lpstr>
      <vt:lpstr>Methodology</vt:lpstr>
      <vt:lpstr>Confusion Matrix for Predicted Positions</vt:lpstr>
      <vt:lpstr>PCA components of Grouped Positions:  2 and 3 Components </vt:lpstr>
      <vt:lpstr>PowerPoint Presentation</vt:lpstr>
      <vt:lpstr>Methodology</vt:lpstr>
      <vt:lpstr>Scoring Methodology </vt:lpstr>
      <vt:lpstr>Top 3 clubs vs. Bottom 3 clubs </vt:lpstr>
      <vt:lpstr>League Average </vt:lpstr>
      <vt:lpstr>Score Distributions </vt:lpstr>
      <vt:lpstr>PowerPoint Presentation</vt:lpstr>
      <vt:lpstr>Methodology</vt:lpstr>
      <vt:lpstr>The model result (test MSE score)</vt:lpstr>
      <vt:lpstr>The model result (examples)</vt:lpstr>
      <vt:lpstr>PowerPoint Presentation</vt:lpstr>
      <vt:lpstr>Possible Future Improv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n, Aaron</dc:creator>
  <cp:lastModifiedBy>Ryuichiro Hashimoto</cp:lastModifiedBy>
  <cp:revision>11</cp:revision>
  <cp:lastPrinted>2020-12-10T23:48:41Z</cp:lastPrinted>
  <dcterms:created xsi:type="dcterms:W3CDTF">2020-11-29T15:48:23Z</dcterms:created>
  <dcterms:modified xsi:type="dcterms:W3CDTF">2020-12-11T13:44:05Z</dcterms:modified>
</cp:coreProperties>
</file>